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8" r:id="rId5"/>
  </p:sldMasterIdLst>
  <p:notesMasterIdLst>
    <p:notesMasterId r:id="rId38"/>
  </p:notesMasterIdLst>
  <p:handoutMasterIdLst>
    <p:handoutMasterId r:id="rId39"/>
  </p:handoutMasterIdLst>
  <p:sldIdLst>
    <p:sldId id="296" r:id="rId6"/>
    <p:sldId id="529" r:id="rId7"/>
    <p:sldId id="539" r:id="rId8"/>
    <p:sldId id="540" r:id="rId9"/>
    <p:sldId id="530" r:id="rId10"/>
    <p:sldId id="424" r:id="rId11"/>
    <p:sldId id="531" r:id="rId12"/>
    <p:sldId id="481" r:id="rId13"/>
    <p:sldId id="483" r:id="rId14"/>
    <p:sldId id="456" r:id="rId15"/>
    <p:sldId id="543" r:id="rId16"/>
    <p:sldId id="541" r:id="rId17"/>
    <p:sldId id="545" r:id="rId18"/>
    <p:sldId id="546" r:id="rId19"/>
    <p:sldId id="457" r:id="rId20"/>
    <p:sldId id="542" r:id="rId21"/>
    <p:sldId id="544" r:id="rId22"/>
    <p:sldId id="535" r:id="rId23"/>
    <p:sldId id="536" r:id="rId24"/>
    <p:sldId id="549" r:id="rId25"/>
    <p:sldId id="547" r:id="rId26"/>
    <p:sldId id="548" r:id="rId27"/>
    <p:sldId id="473" r:id="rId28"/>
    <p:sldId id="550" r:id="rId29"/>
    <p:sldId id="526" r:id="rId30"/>
    <p:sldId id="489" r:id="rId31"/>
    <p:sldId id="551" r:id="rId32"/>
    <p:sldId id="475" r:id="rId33"/>
    <p:sldId id="552" r:id="rId34"/>
    <p:sldId id="476" r:id="rId35"/>
    <p:sldId id="553" r:id="rId36"/>
    <p:sldId id="466" r:id="rId37"/>
  </p:sldIdLst>
  <p:sldSz cx="9144000" cy="6858000" type="screen4x3"/>
  <p:notesSz cx="7104063" cy="10234613"/>
  <p:custDataLst>
    <p:tags r:id="rId40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pe CERISIER" initials="PC" lastIdx="0" clrIdx="0">
    <p:extLst>
      <p:ext uri="{19B8F6BF-5375-455C-9EA6-DF929625EA0E}">
        <p15:presenceInfo xmlns:p15="http://schemas.microsoft.com/office/powerpoint/2012/main" userId="S::philippe.cerisier@klesia.fr::243b6f8e-f1ab-49a6-91db-d0e885322b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879"/>
    <a:srgbClr val="FCCBCE"/>
    <a:srgbClr val="E41B09"/>
    <a:srgbClr val="E4523B"/>
    <a:srgbClr val="FA7D7D"/>
    <a:srgbClr val="F78909"/>
    <a:srgbClr val="481B04"/>
    <a:srgbClr val="4A280C"/>
    <a:srgbClr val="F75A22"/>
    <a:srgbClr val="8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A5DDBE-934D-4B58-9FC0-5D93ADDCAED2}" v="652" dt="2020-11-28T13:10:59.3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8" autoAdjust="0"/>
    <p:restoredTop sz="99600" autoAdjust="0"/>
  </p:normalViewPr>
  <p:slideViewPr>
    <p:cSldViewPr snapToGrid="0">
      <p:cViewPr varScale="1">
        <p:scale>
          <a:sx n="72" d="100"/>
          <a:sy n="72" d="100"/>
        </p:scale>
        <p:origin x="141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274" y="-101"/>
      </p:cViewPr>
      <p:guideLst>
        <p:guide orient="horz" pos="3223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46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e CERISIER" userId="243b6f8e-f1ab-49a6-91db-d0e885322b27" providerId="ADAL" clId="{B5897DA3-1260-4362-A2B6-674830C0E4B3}"/>
    <pc:docChg chg="undo custSel addSld delSld modSld sldOrd">
      <pc:chgData name="Philippe CERISIER" userId="243b6f8e-f1ab-49a6-91db-d0e885322b27" providerId="ADAL" clId="{B5897DA3-1260-4362-A2B6-674830C0E4B3}" dt="2020-11-27T14:23:46.805" v="4005" actId="1076"/>
      <pc:docMkLst>
        <pc:docMk/>
      </pc:docMkLst>
      <pc:sldChg chg="addSp delSp modSp">
        <pc:chgData name="Philippe CERISIER" userId="243b6f8e-f1ab-49a6-91db-d0e885322b27" providerId="ADAL" clId="{B5897DA3-1260-4362-A2B6-674830C0E4B3}" dt="2020-11-26T20:41:42.154" v="18" actId="20577"/>
        <pc:sldMkLst>
          <pc:docMk/>
          <pc:sldMk cId="3696005702" sldId="296"/>
        </pc:sldMkLst>
        <pc:spChg chg="mod">
          <ac:chgData name="Philippe CERISIER" userId="243b6f8e-f1ab-49a6-91db-d0e885322b27" providerId="ADAL" clId="{B5897DA3-1260-4362-A2B6-674830C0E4B3}" dt="2020-11-26T20:41:42.154" v="18" actId="20577"/>
          <ac:spMkLst>
            <pc:docMk/>
            <pc:sldMk cId="3696005702" sldId="296"/>
            <ac:spMk id="10243" creationId="{00000000-0000-0000-0000-000000000000}"/>
          </ac:spMkLst>
        </pc:spChg>
        <pc:picChg chg="del">
          <ac:chgData name="Philippe CERISIER" userId="243b6f8e-f1ab-49a6-91db-d0e885322b27" providerId="ADAL" clId="{B5897DA3-1260-4362-A2B6-674830C0E4B3}" dt="2020-11-26T20:32:47.135" v="0" actId="478"/>
          <ac:picMkLst>
            <pc:docMk/>
            <pc:sldMk cId="3696005702" sldId="296"/>
            <ac:picMk id="4" creationId="{0C7960E2-817E-473E-BC50-BEA3F0FDC03B}"/>
          </ac:picMkLst>
        </pc:picChg>
        <pc:picChg chg="add mod">
          <ac:chgData name="Philippe CERISIER" userId="243b6f8e-f1ab-49a6-91db-d0e885322b27" providerId="ADAL" clId="{B5897DA3-1260-4362-A2B6-674830C0E4B3}" dt="2020-11-26T20:41:19.226" v="7" actId="14100"/>
          <ac:picMkLst>
            <pc:docMk/>
            <pc:sldMk cId="3696005702" sldId="296"/>
            <ac:picMk id="2050" creationId="{44B95989-A7FD-4F52-B8A2-B146DDEC5C7C}"/>
          </ac:picMkLst>
        </pc:picChg>
        <pc:picChg chg="add mod">
          <ac:chgData name="Philippe CERISIER" userId="243b6f8e-f1ab-49a6-91db-d0e885322b27" providerId="ADAL" clId="{B5897DA3-1260-4362-A2B6-674830C0E4B3}" dt="2020-11-26T20:41:22.458" v="8" actId="1076"/>
          <ac:picMkLst>
            <pc:docMk/>
            <pc:sldMk cId="3696005702" sldId="296"/>
            <ac:picMk id="2052" creationId="{257C48DB-17EC-4BEF-A1EE-736685355C7E}"/>
          </ac:picMkLst>
        </pc:picChg>
      </pc:sldChg>
      <pc:sldChg chg="modSp">
        <pc:chgData name="Philippe CERISIER" userId="243b6f8e-f1ab-49a6-91db-d0e885322b27" providerId="ADAL" clId="{B5897DA3-1260-4362-A2B6-674830C0E4B3}" dt="2020-11-27T10:05:44.650" v="1908" actId="255"/>
        <pc:sldMkLst>
          <pc:docMk/>
          <pc:sldMk cId="2611169420" sldId="424"/>
        </pc:sldMkLst>
        <pc:spChg chg="mod">
          <ac:chgData name="Philippe CERISIER" userId="243b6f8e-f1ab-49a6-91db-d0e885322b27" providerId="ADAL" clId="{B5897DA3-1260-4362-A2B6-674830C0E4B3}" dt="2020-11-26T20:45:13.611" v="107" actId="1076"/>
          <ac:spMkLst>
            <pc:docMk/>
            <pc:sldMk cId="2611169420" sldId="424"/>
            <ac:spMk id="5" creationId="{00000000-0000-0000-0000-000000000000}"/>
          </ac:spMkLst>
        </pc:spChg>
        <pc:graphicFrameChg chg="mod">
          <ac:chgData name="Philippe CERISIER" userId="243b6f8e-f1ab-49a6-91db-d0e885322b27" providerId="ADAL" clId="{B5897DA3-1260-4362-A2B6-674830C0E4B3}" dt="2020-11-27T10:05:44.650" v="1908" actId="255"/>
          <ac:graphicFrameMkLst>
            <pc:docMk/>
            <pc:sldMk cId="2611169420" sldId="424"/>
            <ac:graphicFrameMk id="2" creationId="{00000000-0000-0000-0000-000000000000}"/>
          </ac:graphicFrameMkLst>
        </pc:graphicFrameChg>
      </pc:sldChg>
      <pc:sldChg chg="del">
        <pc:chgData name="Philippe CERISIER" userId="243b6f8e-f1ab-49a6-91db-d0e885322b27" providerId="ADAL" clId="{B5897DA3-1260-4362-A2B6-674830C0E4B3}" dt="2020-11-26T21:11:07.909" v="205" actId="2696"/>
        <pc:sldMkLst>
          <pc:docMk/>
          <pc:sldMk cId="0" sldId="438"/>
        </pc:sldMkLst>
      </pc:sldChg>
      <pc:sldChg chg="del">
        <pc:chgData name="Philippe CERISIER" userId="243b6f8e-f1ab-49a6-91db-d0e885322b27" providerId="ADAL" clId="{B5897DA3-1260-4362-A2B6-674830C0E4B3}" dt="2020-11-26T21:11:13.737" v="206" actId="2696"/>
        <pc:sldMkLst>
          <pc:docMk/>
          <pc:sldMk cId="0" sldId="439"/>
        </pc:sldMkLst>
      </pc:sldChg>
      <pc:sldChg chg="addSp delSp modSp add del">
        <pc:chgData name="Philippe CERISIER" userId="243b6f8e-f1ab-49a6-91db-d0e885322b27" providerId="ADAL" clId="{B5897DA3-1260-4362-A2B6-674830C0E4B3}" dt="2020-11-26T22:06:17.979" v="1021" actId="6549"/>
        <pc:sldMkLst>
          <pc:docMk/>
          <pc:sldMk cId="0" sldId="456"/>
        </pc:sldMkLst>
        <pc:spChg chg="mod">
          <ac:chgData name="Philippe CERISIER" userId="243b6f8e-f1ab-49a6-91db-d0e885322b27" providerId="ADAL" clId="{B5897DA3-1260-4362-A2B6-674830C0E4B3}" dt="2020-11-26T22:06:17.979" v="1021" actId="6549"/>
          <ac:spMkLst>
            <pc:docMk/>
            <pc:sldMk cId="0" sldId="456"/>
            <ac:spMk id="3" creationId="{00000000-0000-0000-0000-000000000000}"/>
          </ac:spMkLst>
        </pc:spChg>
        <pc:picChg chg="add mod">
          <ac:chgData name="Philippe CERISIER" userId="243b6f8e-f1ab-49a6-91db-d0e885322b27" providerId="ADAL" clId="{B5897DA3-1260-4362-A2B6-674830C0E4B3}" dt="2020-11-26T22:06:13.203" v="1020" actId="1076"/>
          <ac:picMkLst>
            <pc:docMk/>
            <pc:sldMk cId="0" sldId="456"/>
            <ac:picMk id="2" creationId="{8F0B2881-70F7-4CC1-9197-DFBE9F8586D8}"/>
          </ac:picMkLst>
        </pc:picChg>
        <pc:picChg chg="del">
          <ac:chgData name="Philippe CERISIER" userId="243b6f8e-f1ab-49a6-91db-d0e885322b27" providerId="ADAL" clId="{B5897DA3-1260-4362-A2B6-674830C0E4B3}" dt="2020-11-26T22:06:05.332" v="1018" actId="478"/>
          <ac:picMkLst>
            <pc:docMk/>
            <pc:sldMk cId="0" sldId="456"/>
            <ac:picMk id="79876" creationId="{00000000-0000-0000-0000-000000000000}"/>
          </ac:picMkLst>
        </pc:picChg>
      </pc:sldChg>
      <pc:sldChg chg="delSp modSp">
        <pc:chgData name="Philippe CERISIER" userId="243b6f8e-f1ab-49a6-91db-d0e885322b27" providerId="ADAL" clId="{B5897DA3-1260-4362-A2B6-674830C0E4B3}" dt="2020-11-27T10:37:50.021" v="2345" actId="20577"/>
        <pc:sldMkLst>
          <pc:docMk/>
          <pc:sldMk cId="0" sldId="457"/>
        </pc:sldMkLst>
        <pc:spChg chg="mod">
          <ac:chgData name="Philippe CERISIER" userId="243b6f8e-f1ab-49a6-91db-d0e885322b27" providerId="ADAL" clId="{B5897DA3-1260-4362-A2B6-674830C0E4B3}" dt="2020-11-27T10:37:50.021" v="2345" actId="20577"/>
          <ac:spMkLst>
            <pc:docMk/>
            <pc:sldMk cId="0" sldId="457"/>
            <ac:spMk id="2" creationId="{00000000-0000-0000-0000-000000000000}"/>
          </ac:spMkLst>
        </pc:spChg>
        <pc:spChg chg="mod">
          <ac:chgData name="Philippe CERISIER" userId="243b6f8e-f1ab-49a6-91db-d0e885322b27" providerId="ADAL" clId="{B5897DA3-1260-4362-A2B6-674830C0E4B3}" dt="2020-11-27T10:37:39.555" v="2342" actId="20577"/>
          <ac:spMkLst>
            <pc:docMk/>
            <pc:sldMk cId="0" sldId="457"/>
            <ac:spMk id="3" creationId="{00000000-0000-0000-0000-000000000000}"/>
          </ac:spMkLst>
        </pc:spChg>
        <pc:picChg chg="del">
          <ac:chgData name="Philippe CERISIER" userId="243b6f8e-f1ab-49a6-91db-d0e885322b27" providerId="ADAL" clId="{B5897DA3-1260-4362-A2B6-674830C0E4B3}" dt="2020-11-27T10:37:43.617" v="2343" actId="478"/>
          <ac:picMkLst>
            <pc:docMk/>
            <pc:sldMk cId="0" sldId="457"/>
            <ac:picMk id="43010" creationId="{00000000-0000-0000-0000-000000000000}"/>
          </ac:picMkLst>
        </pc:picChg>
      </pc:sldChg>
      <pc:sldChg chg="del">
        <pc:chgData name="Philippe CERISIER" userId="243b6f8e-f1ab-49a6-91db-d0e885322b27" providerId="ADAL" clId="{B5897DA3-1260-4362-A2B6-674830C0E4B3}" dt="2020-11-27T13:40:39.725" v="3446" actId="2696"/>
        <pc:sldMkLst>
          <pc:docMk/>
          <pc:sldMk cId="0" sldId="461"/>
        </pc:sldMkLst>
      </pc:sldChg>
      <pc:sldChg chg="add del">
        <pc:chgData name="Philippe CERISIER" userId="243b6f8e-f1ab-49a6-91db-d0e885322b27" providerId="ADAL" clId="{B5897DA3-1260-4362-A2B6-674830C0E4B3}" dt="2020-11-26T22:07:16.077" v="1022" actId="2696"/>
        <pc:sldMkLst>
          <pc:docMk/>
          <pc:sldMk cId="0" sldId="469"/>
        </pc:sldMkLst>
      </pc:sldChg>
      <pc:sldChg chg="del">
        <pc:chgData name="Philippe CERISIER" userId="243b6f8e-f1ab-49a6-91db-d0e885322b27" providerId="ADAL" clId="{B5897DA3-1260-4362-A2B6-674830C0E4B3}" dt="2020-11-27T13:15:16.084" v="3145" actId="2696"/>
        <pc:sldMkLst>
          <pc:docMk/>
          <pc:sldMk cId="0" sldId="470"/>
        </pc:sldMkLst>
      </pc:sldChg>
      <pc:sldChg chg="modSp">
        <pc:chgData name="Philippe CERISIER" userId="243b6f8e-f1ab-49a6-91db-d0e885322b27" providerId="ADAL" clId="{B5897DA3-1260-4362-A2B6-674830C0E4B3}" dt="2020-11-27T13:24:38.037" v="3226" actId="6549"/>
        <pc:sldMkLst>
          <pc:docMk/>
          <pc:sldMk cId="0" sldId="473"/>
        </pc:sldMkLst>
        <pc:spChg chg="mod">
          <ac:chgData name="Philippe CERISIER" userId="243b6f8e-f1ab-49a6-91db-d0e885322b27" providerId="ADAL" clId="{B5897DA3-1260-4362-A2B6-674830C0E4B3}" dt="2020-11-27T13:24:26.850" v="3221" actId="5793"/>
          <ac:spMkLst>
            <pc:docMk/>
            <pc:sldMk cId="0" sldId="473"/>
            <ac:spMk id="2" creationId="{00000000-0000-0000-0000-000000000000}"/>
          </ac:spMkLst>
        </pc:spChg>
        <pc:spChg chg="mod">
          <ac:chgData name="Philippe CERISIER" userId="243b6f8e-f1ab-49a6-91db-d0e885322b27" providerId="ADAL" clId="{B5897DA3-1260-4362-A2B6-674830C0E4B3}" dt="2020-11-27T13:24:38.037" v="3226" actId="6549"/>
          <ac:spMkLst>
            <pc:docMk/>
            <pc:sldMk cId="0" sldId="473"/>
            <ac:spMk id="3" creationId="{00000000-0000-0000-0000-000000000000}"/>
          </ac:spMkLst>
        </pc:spChg>
      </pc:sldChg>
      <pc:sldChg chg="addSp delSp modSp">
        <pc:chgData name="Philippe CERISIER" userId="243b6f8e-f1ab-49a6-91db-d0e885322b27" providerId="ADAL" clId="{B5897DA3-1260-4362-A2B6-674830C0E4B3}" dt="2020-11-27T13:49:52.212" v="3569" actId="403"/>
        <pc:sldMkLst>
          <pc:docMk/>
          <pc:sldMk cId="0" sldId="475"/>
        </pc:sldMkLst>
        <pc:spChg chg="mod">
          <ac:chgData name="Philippe CERISIER" userId="243b6f8e-f1ab-49a6-91db-d0e885322b27" providerId="ADAL" clId="{B5897DA3-1260-4362-A2B6-674830C0E4B3}" dt="2020-11-27T13:47:27.002" v="3518" actId="14100"/>
          <ac:spMkLst>
            <pc:docMk/>
            <pc:sldMk cId="0" sldId="475"/>
            <ac:spMk id="3" creationId="{00000000-0000-0000-0000-000000000000}"/>
          </ac:spMkLst>
        </pc:spChg>
        <pc:graphicFrameChg chg="add mod modGraphic">
          <ac:chgData name="Philippe CERISIER" userId="243b6f8e-f1ab-49a6-91db-d0e885322b27" providerId="ADAL" clId="{B5897DA3-1260-4362-A2B6-674830C0E4B3}" dt="2020-11-27T13:49:02.547" v="3538" actId="403"/>
          <ac:graphicFrameMkLst>
            <pc:docMk/>
            <pc:sldMk cId="0" sldId="475"/>
            <ac:graphicFrameMk id="2" creationId="{6585B0E3-C85E-4CCD-80D6-092C72C3E73F}"/>
          </ac:graphicFrameMkLst>
        </pc:graphicFrameChg>
        <pc:graphicFrameChg chg="add mod modGraphic">
          <ac:chgData name="Philippe CERISIER" userId="243b6f8e-f1ab-49a6-91db-d0e885322b27" providerId="ADAL" clId="{B5897DA3-1260-4362-A2B6-674830C0E4B3}" dt="2020-11-27T13:49:52.212" v="3569" actId="403"/>
          <ac:graphicFrameMkLst>
            <pc:docMk/>
            <pc:sldMk cId="0" sldId="475"/>
            <ac:graphicFrameMk id="7" creationId="{81240B96-6C8E-4EE5-AA9F-E993F9CA42F5}"/>
          </ac:graphicFrameMkLst>
        </pc:graphicFrameChg>
        <pc:graphicFrameChg chg="del">
          <ac:chgData name="Philippe CERISIER" userId="243b6f8e-f1ab-49a6-91db-d0e885322b27" providerId="ADAL" clId="{B5897DA3-1260-4362-A2B6-674830C0E4B3}" dt="2020-11-27T13:41:50.261" v="3448" actId="478"/>
          <ac:graphicFrameMkLst>
            <pc:docMk/>
            <pc:sldMk cId="0" sldId="475"/>
            <ac:graphicFrameMk id="11" creationId="{447195FC-F50F-43BC-9001-8428C83EF7F5}"/>
          </ac:graphicFrameMkLst>
        </pc:graphicFrameChg>
      </pc:sldChg>
      <pc:sldChg chg="modSp">
        <pc:chgData name="Philippe CERISIER" userId="243b6f8e-f1ab-49a6-91db-d0e885322b27" providerId="ADAL" clId="{B5897DA3-1260-4362-A2B6-674830C0E4B3}" dt="2020-11-27T14:04:03.098" v="3626"/>
        <pc:sldMkLst>
          <pc:docMk/>
          <pc:sldMk cId="0" sldId="476"/>
        </pc:sldMkLst>
        <pc:spChg chg="mod">
          <ac:chgData name="Philippe CERISIER" userId="243b6f8e-f1ab-49a6-91db-d0e885322b27" providerId="ADAL" clId="{B5897DA3-1260-4362-A2B6-674830C0E4B3}" dt="2020-11-27T14:04:03.098" v="3626"/>
          <ac:spMkLst>
            <pc:docMk/>
            <pc:sldMk cId="0" sldId="476"/>
            <ac:spMk id="2" creationId="{00000000-0000-0000-0000-000000000000}"/>
          </ac:spMkLst>
        </pc:spChg>
      </pc:sldChg>
      <pc:sldChg chg="del">
        <pc:chgData name="Philippe CERISIER" userId="243b6f8e-f1ab-49a6-91db-d0e885322b27" providerId="ADAL" clId="{B5897DA3-1260-4362-A2B6-674830C0E4B3}" dt="2020-11-27T14:04:21.895" v="3627" actId="2696"/>
        <pc:sldMkLst>
          <pc:docMk/>
          <pc:sldMk cId="0" sldId="480"/>
        </pc:sldMkLst>
      </pc:sldChg>
      <pc:sldChg chg="modSp mod">
        <pc:chgData name="Philippe CERISIER" userId="243b6f8e-f1ab-49a6-91db-d0e885322b27" providerId="ADAL" clId="{B5897DA3-1260-4362-A2B6-674830C0E4B3}" dt="2020-11-27T10:27:03.047" v="2268" actId="1076"/>
        <pc:sldMkLst>
          <pc:docMk/>
          <pc:sldMk cId="0" sldId="481"/>
        </pc:sldMkLst>
        <pc:graphicFrameChg chg="mod">
          <ac:chgData name="Philippe CERISIER" userId="243b6f8e-f1ab-49a6-91db-d0e885322b27" providerId="ADAL" clId="{B5897DA3-1260-4362-A2B6-674830C0E4B3}" dt="2020-11-27T10:27:03.047" v="2268" actId="1076"/>
          <ac:graphicFrameMkLst>
            <pc:docMk/>
            <pc:sldMk cId="0" sldId="481"/>
            <ac:graphicFrameMk id="10" creationId="{00000000-0000-0000-0000-000000000000}"/>
          </ac:graphicFrameMkLst>
        </pc:graphicFrameChg>
      </pc:sldChg>
      <pc:sldChg chg="del">
        <pc:chgData name="Philippe CERISIER" userId="243b6f8e-f1ab-49a6-91db-d0e885322b27" providerId="ADAL" clId="{B5897DA3-1260-4362-A2B6-674830C0E4B3}" dt="2020-11-26T21:49:59.210" v="887" actId="2696"/>
        <pc:sldMkLst>
          <pc:docMk/>
          <pc:sldMk cId="0" sldId="482"/>
        </pc:sldMkLst>
      </pc:sldChg>
      <pc:sldChg chg="modSp">
        <pc:chgData name="Philippe CERISIER" userId="243b6f8e-f1ab-49a6-91db-d0e885322b27" providerId="ADAL" clId="{B5897DA3-1260-4362-A2B6-674830C0E4B3}" dt="2020-11-27T10:27:35.224" v="2271" actId="14100"/>
        <pc:sldMkLst>
          <pc:docMk/>
          <pc:sldMk cId="0" sldId="483"/>
        </pc:sldMkLst>
        <pc:spChg chg="mod">
          <ac:chgData name="Philippe CERISIER" userId="243b6f8e-f1ab-49a6-91db-d0e885322b27" providerId="ADAL" clId="{B5897DA3-1260-4362-A2B6-674830C0E4B3}" dt="2020-11-26T21:49:34.997" v="886" actId="6549"/>
          <ac:spMkLst>
            <pc:docMk/>
            <pc:sldMk cId="0" sldId="483"/>
            <ac:spMk id="3" creationId="{00000000-0000-0000-0000-000000000000}"/>
          </ac:spMkLst>
        </pc:spChg>
        <pc:graphicFrameChg chg="mod modGraphic">
          <ac:chgData name="Philippe CERISIER" userId="243b6f8e-f1ab-49a6-91db-d0e885322b27" providerId="ADAL" clId="{B5897DA3-1260-4362-A2B6-674830C0E4B3}" dt="2020-11-27T10:27:35.224" v="2271" actId="14100"/>
          <ac:graphicFrameMkLst>
            <pc:docMk/>
            <pc:sldMk cId="0" sldId="483"/>
            <ac:graphicFrameMk id="7" creationId="{00000000-0000-0000-0000-000000000000}"/>
          </ac:graphicFrameMkLst>
        </pc:graphicFrameChg>
      </pc:sldChg>
      <pc:sldChg chg="addSp delSp modSp del">
        <pc:chgData name="Philippe CERISIER" userId="243b6f8e-f1ab-49a6-91db-d0e885322b27" providerId="ADAL" clId="{B5897DA3-1260-4362-A2B6-674830C0E4B3}" dt="2020-11-26T22:07:24.183" v="1024" actId="2696"/>
        <pc:sldMkLst>
          <pc:docMk/>
          <pc:sldMk cId="0" sldId="488"/>
        </pc:sldMkLst>
        <pc:spChg chg="mod">
          <ac:chgData name="Philippe CERISIER" userId="243b6f8e-f1ab-49a6-91db-d0e885322b27" providerId="ADAL" clId="{B5897DA3-1260-4362-A2B6-674830C0E4B3}" dt="2020-11-26T21:51:22.924" v="890" actId="1076"/>
          <ac:spMkLst>
            <pc:docMk/>
            <pc:sldMk cId="0" sldId="488"/>
            <ac:spMk id="2" creationId="{00000000-0000-0000-0000-000000000000}"/>
          </ac:spMkLst>
        </pc:spChg>
        <pc:spChg chg="mod">
          <ac:chgData name="Philippe CERISIER" userId="243b6f8e-f1ab-49a6-91db-d0e885322b27" providerId="ADAL" clId="{B5897DA3-1260-4362-A2B6-674830C0E4B3}" dt="2020-11-26T22:01:21.741" v="1012" actId="6549"/>
          <ac:spMkLst>
            <pc:docMk/>
            <pc:sldMk cId="0" sldId="488"/>
            <ac:spMk id="8" creationId="{00000000-0000-0000-0000-000000000000}"/>
          </ac:spMkLst>
        </pc:spChg>
        <pc:spChg chg="add mod">
          <ac:chgData name="Philippe CERISIER" userId="243b6f8e-f1ab-49a6-91db-d0e885322b27" providerId="ADAL" clId="{B5897DA3-1260-4362-A2B6-674830C0E4B3}" dt="2020-11-26T22:01:15.125" v="1011" actId="403"/>
          <ac:spMkLst>
            <pc:docMk/>
            <pc:sldMk cId="0" sldId="488"/>
            <ac:spMk id="12" creationId="{5DFF7FFF-494D-4B75-A4CE-36B7776980FA}"/>
          </ac:spMkLst>
        </pc:spChg>
        <pc:spChg chg="del mod">
          <ac:chgData name="Philippe CERISIER" userId="243b6f8e-f1ab-49a6-91db-d0e885322b27" providerId="ADAL" clId="{B5897DA3-1260-4362-A2B6-674830C0E4B3}" dt="2020-11-26T21:51:15.661" v="889" actId="478"/>
          <ac:spMkLst>
            <pc:docMk/>
            <pc:sldMk cId="0" sldId="488"/>
            <ac:spMk id="13" creationId="{00000000-0000-0000-0000-000000000000}"/>
          </ac:spMkLst>
        </pc:spChg>
        <pc:picChg chg="del">
          <ac:chgData name="Philippe CERISIER" userId="243b6f8e-f1ab-49a6-91db-d0e885322b27" providerId="ADAL" clId="{B5897DA3-1260-4362-A2B6-674830C0E4B3}" dt="2020-11-26T21:58:36.268" v="891" actId="478"/>
          <ac:picMkLst>
            <pc:docMk/>
            <pc:sldMk cId="0" sldId="488"/>
            <ac:picMk id="10" creationId="{A21D95D1-E8FA-4BEA-92C9-BF5E7B91EC42}"/>
          </ac:picMkLst>
        </pc:picChg>
      </pc:sldChg>
      <pc:sldChg chg="delSp modSp">
        <pc:chgData name="Philippe CERISIER" userId="243b6f8e-f1ab-49a6-91db-d0e885322b27" providerId="ADAL" clId="{B5897DA3-1260-4362-A2B6-674830C0E4B3}" dt="2020-11-27T13:40:02.923" v="3442" actId="1076"/>
        <pc:sldMkLst>
          <pc:docMk/>
          <pc:sldMk cId="0" sldId="489"/>
        </pc:sldMkLst>
        <pc:spChg chg="mod">
          <ac:chgData name="Philippe CERISIER" userId="243b6f8e-f1ab-49a6-91db-d0e885322b27" providerId="ADAL" clId="{B5897DA3-1260-4362-A2B6-674830C0E4B3}" dt="2020-11-27T13:33:18.298" v="3336" actId="1076"/>
          <ac:spMkLst>
            <pc:docMk/>
            <pc:sldMk cId="0" sldId="489"/>
            <ac:spMk id="3" creationId="{00000000-0000-0000-0000-000000000000}"/>
          </ac:spMkLst>
        </pc:spChg>
        <pc:spChg chg="del mod">
          <ac:chgData name="Philippe CERISIER" userId="243b6f8e-f1ab-49a6-91db-d0e885322b27" providerId="ADAL" clId="{B5897DA3-1260-4362-A2B6-674830C0E4B3}" dt="2020-11-27T13:36:45.825" v="3374" actId="478"/>
          <ac:spMkLst>
            <pc:docMk/>
            <pc:sldMk cId="0" sldId="489"/>
            <ac:spMk id="8" creationId="{4E2B9992-572A-43CD-A8D5-BFECCADDE6D6}"/>
          </ac:spMkLst>
        </pc:spChg>
        <pc:graphicFrameChg chg="mod modGraphic">
          <ac:chgData name="Philippe CERISIER" userId="243b6f8e-f1ab-49a6-91db-d0e885322b27" providerId="ADAL" clId="{B5897DA3-1260-4362-A2B6-674830C0E4B3}" dt="2020-11-27T13:40:02.923" v="3442" actId="1076"/>
          <ac:graphicFrameMkLst>
            <pc:docMk/>
            <pc:sldMk cId="0" sldId="489"/>
            <ac:graphicFrameMk id="2" creationId="{72A53D3B-B136-4511-9843-CEF837A9587E}"/>
          </ac:graphicFrameMkLst>
        </pc:graphicFrameChg>
      </pc:sldChg>
      <pc:sldChg chg="del">
        <pc:chgData name="Philippe CERISIER" userId="243b6f8e-f1ab-49a6-91db-d0e885322b27" providerId="ADAL" clId="{B5897DA3-1260-4362-A2B6-674830C0E4B3}" dt="2020-11-27T13:50:12.026" v="3570" actId="2696"/>
        <pc:sldMkLst>
          <pc:docMk/>
          <pc:sldMk cId="0" sldId="504"/>
        </pc:sldMkLst>
      </pc:sldChg>
      <pc:sldChg chg="del">
        <pc:chgData name="Philippe CERISIER" userId="243b6f8e-f1ab-49a6-91db-d0e885322b27" providerId="ADAL" clId="{B5897DA3-1260-4362-A2B6-674830C0E4B3}" dt="2020-11-27T13:15:20.640" v="3146" actId="2696"/>
        <pc:sldMkLst>
          <pc:docMk/>
          <pc:sldMk cId="4064722725" sldId="513"/>
        </pc:sldMkLst>
      </pc:sldChg>
      <pc:sldChg chg="del">
        <pc:chgData name="Philippe CERISIER" userId="243b6f8e-f1ab-49a6-91db-d0e885322b27" providerId="ADAL" clId="{B5897DA3-1260-4362-A2B6-674830C0E4B3}" dt="2020-11-26T22:08:17.103" v="1027" actId="2696"/>
        <pc:sldMkLst>
          <pc:docMk/>
          <pc:sldMk cId="1928456104" sldId="514"/>
        </pc:sldMkLst>
      </pc:sldChg>
      <pc:sldChg chg="del">
        <pc:chgData name="Philippe CERISIER" userId="243b6f8e-f1ab-49a6-91db-d0e885322b27" providerId="ADAL" clId="{B5897DA3-1260-4362-A2B6-674830C0E4B3}" dt="2020-11-26T22:29:04.200" v="1560" actId="2696"/>
        <pc:sldMkLst>
          <pc:docMk/>
          <pc:sldMk cId="1732672563" sldId="515"/>
        </pc:sldMkLst>
      </pc:sldChg>
      <pc:sldChg chg="del">
        <pc:chgData name="Philippe CERISIER" userId="243b6f8e-f1ab-49a6-91db-d0e885322b27" providerId="ADAL" clId="{B5897DA3-1260-4362-A2B6-674830C0E4B3}" dt="2020-11-27T13:40:24.082" v="3444" actId="2696"/>
        <pc:sldMkLst>
          <pc:docMk/>
          <pc:sldMk cId="4106812236" sldId="516"/>
        </pc:sldMkLst>
      </pc:sldChg>
      <pc:sldChg chg="del">
        <pc:chgData name="Philippe CERISIER" userId="243b6f8e-f1ab-49a6-91db-d0e885322b27" providerId="ADAL" clId="{B5897DA3-1260-4362-A2B6-674830C0E4B3}" dt="2020-11-27T13:40:43.455" v="3447" actId="2696"/>
        <pc:sldMkLst>
          <pc:docMk/>
          <pc:sldMk cId="220717814" sldId="517"/>
        </pc:sldMkLst>
      </pc:sldChg>
      <pc:sldChg chg="del">
        <pc:chgData name="Philippe CERISIER" userId="243b6f8e-f1ab-49a6-91db-d0e885322b27" providerId="ADAL" clId="{B5897DA3-1260-4362-A2B6-674830C0E4B3}" dt="2020-11-27T14:05:11.336" v="3631" actId="2696"/>
        <pc:sldMkLst>
          <pc:docMk/>
          <pc:sldMk cId="1529460608" sldId="518"/>
        </pc:sldMkLst>
      </pc:sldChg>
      <pc:sldChg chg="del">
        <pc:chgData name="Philippe CERISIER" userId="243b6f8e-f1ab-49a6-91db-d0e885322b27" providerId="ADAL" clId="{B5897DA3-1260-4362-A2B6-674830C0E4B3}" dt="2020-11-27T13:40:37.403" v="3445" actId="2696"/>
        <pc:sldMkLst>
          <pc:docMk/>
          <pc:sldMk cId="1629894182" sldId="520"/>
        </pc:sldMkLst>
      </pc:sldChg>
      <pc:sldChg chg="del">
        <pc:chgData name="Philippe CERISIER" userId="243b6f8e-f1ab-49a6-91db-d0e885322b27" providerId="ADAL" clId="{B5897DA3-1260-4362-A2B6-674830C0E4B3}" dt="2020-11-26T20:59:49.665" v="114" actId="2696"/>
        <pc:sldMkLst>
          <pc:docMk/>
          <pc:sldMk cId="2540435839" sldId="521"/>
        </pc:sldMkLst>
      </pc:sldChg>
      <pc:sldChg chg="del">
        <pc:chgData name="Philippe CERISIER" userId="243b6f8e-f1ab-49a6-91db-d0e885322b27" providerId="ADAL" clId="{B5897DA3-1260-4362-A2B6-674830C0E4B3}" dt="2020-11-26T22:07:18.853" v="1023" actId="2696"/>
        <pc:sldMkLst>
          <pc:docMk/>
          <pc:sldMk cId="3961373243" sldId="522"/>
        </pc:sldMkLst>
      </pc:sldChg>
      <pc:sldChg chg="del">
        <pc:chgData name="Philippe CERISIER" userId="243b6f8e-f1ab-49a6-91db-d0e885322b27" providerId="ADAL" clId="{B5897DA3-1260-4362-A2B6-674830C0E4B3}" dt="2020-11-26T22:07:29.716" v="1025" actId="2696"/>
        <pc:sldMkLst>
          <pc:docMk/>
          <pc:sldMk cId="4003256978" sldId="523"/>
        </pc:sldMkLst>
      </pc:sldChg>
      <pc:sldChg chg="addSp delSp modSp del">
        <pc:chgData name="Philippe CERISIER" userId="243b6f8e-f1ab-49a6-91db-d0e885322b27" providerId="ADAL" clId="{B5897DA3-1260-4362-A2B6-674830C0E4B3}" dt="2020-11-27T13:15:05.151" v="3144" actId="2696"/>
        <pc:sldMkLst>
          <pc:docMk/>
          <pc:sldMk cId="893018143" sldId="524"/>
        </pc:sldMkLst>
        <pc:spChg chg="mod">
          <ac:chgData name="Philippe CERISIER" userId="243b6f8e-f1ab-49a6-91db-d0e885322b27" providerId="ADAL" clId="{B5897DA3-1260-4362-A2B6-674830C0E4B3}" dt="2020-11-27T12:45:31.605" v="2991" actId="20577"/>
          <ac:spMkLst>
            <pc:docMk/>
            <pc:sldMk cId="893018143" sldId="524"/>
            <ac:spMk id="3" creationId="{AE15D898-A553-4326-8A98-0BFD9DA58E91}"/>
          </ac:spMkLst>
        </pc:spChg>
        <pc:graphicFrameChg chg="add del mod modGraphic">
          <ac:chgData name="Philippe CERISIER" userId="243b6f8e-f1ab-49a6-91db-d0e885322b27" providerId="ADAL" clId="{B5897DA3-1260-4362-A2B6-674830C0E4B3}" dt="2020-11-27T12:48:17.035" v="3000" actId="478"/>
          <ac:graphicFrameMkLst>
            <pc:docMk/>
            <pc:sldMk cId="893018143" sldId="524"/>
            <ac:graphicFrameMk id="2" creationId="{F86F6EB5-D3A9-437B-8170-5D043B2A4CD5}"/>
          </ac:graphicFrameMkLst>
        </pc:graphicFrameChg>
        <pc:graphicFrameChg chg="del">
          <ac:chgData name="Philippe CERISIER" userId="243b6f8e-f1ab-49a6-91db-d0e885322b27" providerId="ADAL" clId="{B5897DA3-1260-4362-A2B6-674830C0E4B3}" dt="2020-11-27T12:44:24.003" v="2965" actId="478"/>
          <ac:graphicFrameMkLst>
            <pc:docMk/>
            <pc:sldMk cId="893018143" sldId="524"/>
            <ac:graphicFrameMk id="7" creationId="{A5ACD127-366A-45C6-B261-D64C17D8C478}"/>
          </ac:graphicFrameMkLst>
        </pc:graphicFrameChg>
        <pc:graphicFrameChg chg="add mod modGraphic">
          <ac:chgData name="Philippe CERISIER" userId="243b6f8e-f1ab-49a6-91db-d0e885322b27" providerId="ADAL" clId="{B5897DA3-1260-4362-A2B6-674830C0E4B3}" dt="2020-11-27T12:52:07.386" v="3014" actId="255"/>
          <ac:graphicFrameMkLst>
            <pc:docMk/>
            <pc:sldMk cId="893018143" sldId="524"/>
            <ac:graphicFrameMk id="8" creationId="{55827E9A-EFC8-4C8E-9DD4-3D816B5FF2CF}"/>
          </ac:graphicFrameMkLst>
        </pc:graphicFrameChg>
        <pc:graphicFrameChg chg="add mod modGraphic">
          <ac:chgData name="Philippe CERISIER" userId="243b6f8e-f1ab-49a6-91db-d0e885322b27" providerId="ADAL" clId="{B5897DA3-1260-4362-A2B6-674830C0E4B3}" dt="2020-11-27T12:49:31.123" v="3006" actId="14100"/>
          <ac:graphicFrameMkLst>
            <pc:docMk/>
            <pc:sldMk cId="893018143" sldId="524"/>
            <ac:graphicFrameMk id="9" creationId="{68F4317F-0414-4903-80E5-4192821A2588}"/>
          </ac:graphicFrameMkLst>
        </pc:graphicFrameChg>
      </pc:sldChg>
      <pc:sldChg chg="del">
        <pc:chgData name="Philippe CERISIER" userId="243b6f8e-f1ab-49a6-91db-d0e885322b27" providerId="ADAL" clId="{B5897DA3-1260-4362-A2B6-674830C0E4B3}" dt="2020-11-27T13:15:25.065" v="3147" actId="2696"/>
        <pc:sldMkLst>
          <pc:docMk/>
          <pc:sldMk cId="1088601657" sldId="525"/>
        </pc:sldMkLst>
      </pc:sldChg>
      <pc:sldChg chg="addSp delSp modSp">
        <pc:chgData name="Philippe CERISIER" userId="243b6f8e-f1ab-49a6-91db-d0e885322b27" providerId="ADAL" clId="{B5897DA3-1260-4362-A2B6-674830C0E4B3}" dt="2020-11-27T13:32:55.317" v="3319" actId="1076"/>
        <pc:sldMkLst>
          <pc:docMk/>
          <pc:sldMk cId="686609428" sldId="526"/>
        </pc:sldMkLst>
        <pc:spChg chg="del mod">
          <ac:chgData name="Philippe CERISIER" userId="243b6f8e-f1ab-49a6-91db-d0e885322b27" providerId="ADAL" clId="{B5897DA3-1260-4362-A2B6-674830C0E4B3}" dt="2020-11-27T13:28:49.945" v="3276" actId="478"/>
          <ac:spMkLst>
            <pc:docMk/>
            <pc:sldMk cId="686609428" sldId="526"/>
            <ac:spMk id="2" creationId="{E478D5CD-02D9-4882-8685-E246344BCD59}"/>
          </ac:spMkLst>
        </pc:spChg>
        <pc:spChg chg="mod">
          <ac:chgData name="Philippe CERISIER" userId="243b6f8e-f1ab-49a6-91db-d0e885322b27" providerId="ADAL" clId="{B5897DA3-1260-4362-A2B6-674830C0E4B3}" dt="2020-11-27T13:30:23.181" v="3303" actId="122"/>
          <ac:spMkLst>
            <pc:docMk/>
            <pc:sldMk cId="686609428" sldId="526"/>
            <ac:spMk id="3" creationId="{7D5DBBC5-13E9-4DA3-BA1D-1749A3D64E20}"/>
          </ac:spMkLst>
        </pc:spChg>
        <pc:spChg chg="add del mod">
          <ac:chgData name="Philippe CERISIER" userId="243b6f8e-f1ab-49a6-91db-d0e885322b27" providerId="ADAL" clId="{B5897DA3-1260-4362-A2B6-674830C0E4B3}" dt="2020-11-27T13:29:00.341" v="3278" actId="478"/>
          <ac:spMkLst>
            <pc:docMk/>
            <pc:sldMk cId="686609428" sldId="526"/>
            <ac:spMk id="9" creationId="{02815193-E449-4BC2-B9C5-64D7F0ED5A76}"/>
          </ac:spMkLst>
        </pc:spChg>
        <pc:graphicFrameChg chg="add mod">
          <ac:chgData name="Philippe CERISIER" userId="243b6f8e-f1ab-49a6-91db-d0e885322b27" providerId="ADAL" clId="{B5897DA3-1260-4362-A2B6-674830C0E4B3}" dt="2020-11-27T13:32:55.317" v="3319" actId="1076"/>
          <ac:graphicFrameMkLst>
            <pc:docMk/>
            <pc:sldMk cId="686609428" sldId="526"/>
            <ac:graphicFrameMk id="7" creationId="{B61E2143-7BFC-4B96-820D-B3C400887FB5}"/>
          </ac:graphicFrameMkLst>
        </pc:graphicFrameChg>
      </pc:sldChg>
      <pc:sldChg chg="del">
        <pc:chgData name="Philippe CERISIER" userId="243b6f8e-f1ab-49a6-91db-d0e885322b27" providerId="ADAL" clId="{B5897DA3-1260-4362-A2B6-674830C0E4B3}" dt="2020-11-27T13:48:02.093" v="3523" actId="2696"/>
        <pc:sldMkLst>
          <pc:docMk/>
          <pc:sldMk cId="3123729278" sldId="527"/>
        </pc:sldMkLst>
      </pc:sldChg>
      <pc:sldChg chg="del">
        <pc:chgData name="Philippe CERISIER" userId="243b6f8e-f1ab-49a6-91db-d0e885322b27" providerId="ADAL" clId="{B5897DA3-1260-4362-A2B6-674830C0E4B3}" dt="2020-11-27T14:05:15.929" v="3632" actId="2696"/>
        <pc:sldMkLst>
          <pc:docMk/>
          <pc:sldMk cId="55153770" sldId="528"/>
        </pc:sldMkLst>
      </pc:sldChg>
      <pc:sldChg chg="addSp delSp modSp add ord">
        <pc:chgData name="Philippe CERISIER" userId="243b6f8e-f1ab-49a6-91db-d0e885322b27" providerId="ADAL" clId="{B5897DA3-1260-4362-A2B6-674830C0E4B3}" dt="2020-11-27T10:01:59.722" v="1755"/>
        <pc:sldMkLst>
          <pc:docMk/>
          <pc:sldMk cId="2705241600" sldId="529"/>
        </pc:sldMkLst>
        <pc:spChg chg="add del mod">
          <ac:chgData name="Philippe CERISIER" userId="243b6f8e-f1ab-49a6-91db-d0e885322b27" providerId="ADAL" clId="{B5897DA3-1260-4362-A2B6-674830C0E4B3}" dt="2020-11-26T21:03:17.458" v="130" actId="478"/>
          <ac:spMkLst>
            <pc:docMk/>
            <pc:sldMk cId="2705241600" sldId="529"/>
            <ac:spMk id="2" creationId="{23123DE0-8906-4222-BB3D-488FAE874914}"/>
          </ac:spMkLst>
        </pc:spChg>
        <pc:picChg chg="add mod">
          <ac:chgData name="Philippe CERISIER" userId="243b6f8e-f1ab-49a6-91db-d0e885322b27" providerId="ADAL" clId="{B5897DA3-1260-4362-A2B6-674830C0E4B3}" dt="2020-11-26T21:03:41.294" v="135" actId="14100"/>
          <ac:picMkLst>
            <pc:docMk/>
            <pc:sldMk cId="2705241600" sldId="529"/>
            <ac:picMk id="8" creationId="{91E76CE4-D770-45D2-B34B-93068D9C0E58}"/>
          </ac:picMkLst>
        </pc:picChg>
        <pc:picChg chg="add mod">
          <ac:chgData name="Philippe CERISIER" userId="243b6f8e-f1ab-49a6-91db-d0e885322b27" providerId="ADAL" clId="{B5897DA3-1260-4362-A2B6-674830C0E4B3}" dt="2020-11-26T21:01:19.590" v="121" actId="1076"/>
          <ac:picMkLst>
            <pc:docMk/>
            <pc:sldMk cId="2705241600" sldId="529"/>
            <ac:picMk id="10" creationId="{52264165-3B2E-4BFC-A2BB-94460DBCC5FE}"/>
          </ac:picMkLst>
        </pc:picChg>
        <pc:picChg chg="add del mod">
          <ac:chgData name="Philippe CERISIER" userId="243b6f8e-f1ab-49a6-91db-d0e885322b27" providerId="ADAL" clId="{B5897DA3-1260-4362-A2B6-674830C0E4B3}" dt="2020-11-26T21:03:17.458" v="130" actId="478"/>
          <ac:picMkLst>
            <pc:docMk/>
            <pc:sldMk cId="2705241600" sldId="529"/>
            <ac:picMk id="3074" creationId="{6193475C-3DA2-47C8-9971-4B244270FA4A}"/>
          </ac:picMkLst>
        </pc:picChg>
        <pc:picChg chg="add mod">
          <ac:chgData name="Philippe CERISIER" userId="243b6f8e-f1ab-49a6-91db-d0e885322b27" providerId="ADAL" clId="{B5897DA3-1260-4362-A2B6-674830C0E4B3}" dt="2020-11-26T21:03:48.470" v="137" actId="1076"/>
          <ac:picMkLst>
            <pc:docMk/>
            <pc:sldMk cId="2705241600" sldId="529"/>
            <ac:picMk id="3076" creationId="{1E014748-4EAD-4D3E-8BEA-A860EC6D9C1A}"/>
          </ac:picMkLst>
        </pc:picChg>
      </pc:sldChg>
      <pc:sldChg chg="addSp delSp modSp add">
        <pc:chgData name="Philippe CERISIER" userId="243b6f8e-f1ab-49a6-91db-d0e885322b27" providerId="ADAL" clId="{B5897DA3-1260-4362-A2B6-674830C0E4B3}" dt="2020-11-27T10:05:16.712" v="1907" actId="1076"/>
        <pc:sldMkLst>
          <pc:docMk/>
          <pc:sldMk cId="1971798241" sldId="530"/>
        </pc:sldMkLst>
        <pc:spChg chg="mod">
          <ac:chgData name="Philippe CERISIER" userId="243b6f8e-f1ab-49a6-91db-d0e885322b27" providerId="ADAL" clId="{B5897DA3-1260-4362-A2B6-674830C0E4B3}" dt="2020-11-27T10:05:16.712" v="1907" actId="1076"/>
          <ac:spMkLst>
            <pc:docMk/>
            <pc:sldMk cId="1971798241" sldId="530"/>
            <ac:spMk id="2" creationId="{5115C6FF-489A-4F19-9727-843C8C05E758}"/>
          </ac:spMkLst>
        </pc:spChg>
        <pc:spChg chg="mod">
          <ac:chgData name="Philippe CERISIER" userId="243b6f8e-f1ab-49a6-91db-d0e885322b27" providerId="ADAL" clId="{B5897DA3-1260-4362-A2B6-674830C0E4B3}" dt="2020-11-26T21:05:31.449" v="141" actId="27636"/>
          <ac:spMkLst>
            <pc:docMk/>
            <pc:sldMk cId="1971798241" sldId="530"/>
            <ac:spMk id="3" creationId="{5D17E5B8-38BB-4FA4-A49C-055066322E4C}"/>
          </ac:spMkLst>
        </pc:spChg>
        <pc:spChg chg="del mod">
          <ac:chgData name="Philippe CERISIER" userId="243b6f8e-f1ab-49a6-91db-d0e885322b27" providerId="ADAL" clId="{B5897DA3-1260-4362-A2B6-674830C0E4B3}" dt="2020-11-27T10:03:12.499" v="1785" actId="478"/>
          <ac:spMkLst>
            <pc:docMk/>
            <pc:sldMk cId="1971798241" sldId="530"/>
            <ac:spMk id="6" creationId="{941B6907-A16C-43AA-A19A-A436AAF6B091}"/>
          </ac:spMkLst>
        </pc:spChg>
        <pc:spChg chg="add mod">
          <ac:chgData name="Philippe CERISIER" userId="243b6f8e-f1ab-49a6-91db-d0e885322b27" providerId="ADAL" clId="{B5897DA3-1260-4362-A2B6-674830C0E4B3}" dt="2020-11-27T10:05:11.409" v="1906" actId="1076"/>
          <ac:spMkLst>
            <pc:docMk/>
            <pc:sldMk cId="1971798241" sldId="530"/>
            <ac:spMk id="13" creationId="{A238F695-4758-4082-ADFA-DD1BE0E4A8D3}"/>
          </ac:spMkLst>
        </pc:spChg>
        <pc:picChg chg="add mod">
          <ac:chgData name="Philippe CERISIER" userId="243b6f8e-f1ab-49a6-91db-d0e885322b27" providerId="ADAL" clId="{B5897DA3-1260-4362-A2B6-674830C0E4B3}" dt="2020-11-27T10:05:00.105" v="1903" actId="14100"/>
          <ac:picMkLst>
            <pc:docMk/>
            <pc:sldMk cId="1971798241" sldId="530"/>
            <ac:picMk id="8" creationId="{8AF3BF2A-31CF-48A1-B65B-F30A0BFCEA0F}"/>
          </ac:picMkLst>
        </pc:picChg>
        <pc:picChg chg="add mod">
          <ac:chgData name="Philippe CERISIER" userId="243b6f8e-f1ab-49a6-91db-d0e885322b27" providerId="ADAL" clId="{B5897DA3-1260-4362-A2B6-674830C0E4B3}" dt="2020-11-27T10:04:54.192" v="1902" actId="14100"/>
          <ac:picMkLst>
            <pc:docMk/>
            <pc:sldMk cId="1971798241" sldId="530"/>
            <ac:picMk id="10" creationId="{D9D8F363-A7B1-416B-97A7-A8E78716CB49}"/>
          </ac:picMkLst>
        </pc:picChg>
        <pc:picChg chg="add mod">
          <ac:chgData name="Philippe CERISIER" userId="243b6f8e-f1ab-49a6-91db-d0e885322b27" providerId="ADAL" clId="{B5897DA3-1260-4362-A2B6-674830C0E4B3}" dt="2020-11-26T21:09:13.503" v="163" actId="1076"/>
          <ac:picMkLst>
            <pc:docMk/>
            <pc:sldMk cId="1971798241" sldId="530"/>
            <ac:picMk id="12" creationId="{94AC13BC-2527-4A8E-B757-A0235AA95864}"/>
          </ac:picMkLst>
        </pc:picChg>
      </pc:sldChg>
      <pc:sldChg chg="addSp delSp modSp add">
        <pc:chgData name="Philippe CERISIER" userId="243b6f8e-f1ab-49a6-91db-d0e885322b27" providerId="ADAL" clId="{B5897DA3-1260-4362-A2B6-674830C0E4B3}" dt="2020-11-27T10:26:22.081" v="2267" actId="207"/>
        <pc:sldMkLst>
          <pc:docMk/>
          <pc:sldMk cId="1907505790" sldId="531"/>
        </pc:sldMkLst>
        <pc:spChg chg="del mod">
          <ac:chgData name="Philippe CERISIER" userId="243b6f8e-f1ab-49a6-91db-d0e885322b27" providerId="ADAL" clId="{B5897DA3-1260-4362-A2B6-674830C0E4B3}" dt="2020-11-27T10:23:27.181" v="2228" actId="478"/>
          <ac:spMkLst>
            <pc:docMk/>
            <pc:sldMk cId="1907505790" sldId="531"/>
            <ac:spMk id="2" creationId="{2CB09380-B955-4E80-8F69-C354AC6D04FF}"/>
          </ac:spMkLst>
        </pc:spChg>
        <pc:spChg chg="mod">
          <ac:chgData name="Philippe CERISIER" userId="243b6f8e-f1ab-49a6-91db-d0e885322b27" providerId="ADAL" clId="{B5897DA3-1260-4362-A2B6-674830C0E4B3}" dt="2020-11-26T21:14:46.456" v="246" actId="20577"/>
          <ac:spMkLst>
            <pc:docMk/>
            <pc:sldMk cId="1907505790" sldId="531"/>
            <ac:spMk id="3" creationId="{D0A221AF-3841-45BA-982D-907825F90290}"/>
          </ac:spMkLst>
        </pc:spChg>
        <pc:spChg chg="add del mod">
          <ac:chgData name="Philippe CERISIER" userId="243b6f8e-f1ab-49a6-91db-d0e885322b27" providerId="ADAL" clId="{B5897DA3-1260-4362-A2B6-674830C0E4B3}" dt="2020-11-27T10:23:36.371" v="2229" actId="478"/>
          <ac:spMkLst>
            <pc:docMk/>
            <pc:sldMk cId="1907505790" sldId="531"/>
            <ac:spMk id="10" creationId="{02EFC2C9-99FF-4CD1-99EF-3E21AC6F79A7}"/>
          </ac:spMkLst>
        </pc:spChg>
        <pc:graphicFrameChg chg="add del mod">
          <ac:chgData name="Philippe CERISIER" userId="243b6f8e-f1ab-49a6-91db-d0e885322b27" providerId="ADAL" clId="{B5897DA3-1260-4362-A2B6-674830C0E4B3}" dt="2020-11-26T21:19:45.671" v="286" actId="478"/>
          <ac:graphicFrameMkLst>
            <pc:docMk/>
            <pc:sldMk cId="1907505790" sldId="531"/>
            <ac:graphicFrameMk id="7" creationId="{8FE94AC1-626D-4F4E-9FCE-5028503CA95A}"/>
          </ac:graphicFrameMkLst>
        </pc:graphicFrameChg>
        <pc:graphicFrameChg chg="add mod">
          <ac:chgData name="Philippe CERISIER" userId="243b6f8e-f1ab-49a6-91db-d0e885322b27" providerId="ADAL" clId="{B5897DA3-1260-4362-A2B6-674830C0E4B3}" dt="2020-11-27T10:26:22.081" v="2267" actId="207"/>
          <ac:graphicFrameMkLst>
            <pc:docMk/>
            <pc:sldMk cId="1907505790" sldId="531"/>
            <ac:graphicFrameMk id="8" creationId="{80F09835-8C02-47E1-87BD-9B3F7D171A83}"/>
          </ac:graphicFrameMkLst>
        </pc:graphicFrameChg>
      </pc:sldChg>
      <pc:sldChg chg="modSp del">
        <pc:chgData name="Philippe CERISIER" userId="243b6f8e-f1ab-49a6-91db-d0e885322b27" providerId="ADAL" clId="{B5897DA3-1260-4362-A2B6-674830C0E4B3}" dt="2020-11-27T10:38:27.738" v="2347" actId="2696"/>
        <pc:sldMkLst>
          <pc:docMk/>
          <pc:sldMk cId="4157844506" sldId="532"/>
        </pc:sldMkLst>
        <pc:spChg chg="mod">
          <ac:chgData name="Philippe CERISIER" userId="243b6f8e-f1ab-49a6-91db-d0e885322b27" providerId="ADAL" clId="{B5897DA3-1260-4362-A2B6-674830C0E4B3}" dt="2020-11-26T22:08:11.293" v="1026" actId="1076"/>
          <ac:spMkLst>
            <pc:docMk/>
            <pc:sldMk cId="4157844506" sldId="532"/>
            <ac:spMk id="5" creationId="{00000000-0000-0000-0000-000000000000}"/>
          </ac:spMkLst>
        </pc:spChg>
      </pc:sldChg>
      <pc:sldChg chg="modSp add del">
        <pc:chgData name="Philippe CERISIER" userId="243b6f8e-f1ab-49a6-91db-d0e885322b27" providerId="ADAL" clId="{B5897DA3-1260-4362-A2B6-674830C0E4B3}" dt="2020-11-27T13:25:27.732" v="3229" actId="2696"/>
        <pc:sldMkLst>
          <pc:docMk/>
          <pc:sldMk cId="1048807592" sldId="533"/>
        </pc:sldMkLst>
        <pc:spChg chg="mod">
          <ac:chgData name="Philippe CERISIER" userId="243b6f8e-f1ab-49a6-91db-d0e885322b27" providerId="ADAL" clId="{B5897DA3-1260-4362-A2B6-674830C0E4B3}" dt="2020-11-26T22:28:32.497" v="1557" actId="1076"/>
          <ac:spMkLst>
            <pc:docMk/>
            <pc:sldMk cId="1048807592" sldId="533"/>
            <ac:spMk id="5" creationId="{00000000-0000-0000-0000-000000000000}"/>
          </ac:spMkLst>
        </pc:spChg>
      </pc:sldChg>
      <pc:sldChg chg="del">
        <pc:chgData name="Philippe CERISIER" userId="243b6f8e-f1ab-49a6-91db-d0e885322b27" providerId="ADAL" clId="{B5897DA3-1260-4362-A2B6-674830C0E4B3}" dt="2020-11-27T10:38:30.410" v="2348" actId="2696"/>
        <pc:sldMkLst>
          <pc:docMk/>
          <pc:sldMk cId="2131850394" sldId="534"/>
        </pc:sldMkLst>
      </pc:sldChg>
      <pc:sldChg chg="addSp delSp modSp add">
        <pc:chgData name="Philippe CERISIER" userId="243b6f8e-f1ab-49a6-91db-d0e885322b27" providerId="ADAL" clId="{B5897DA3-1260-4362-A2B6-674830C0E4B3}" dt="2020-11-27T10:57:38.780" v="2890" actId="207"/>
        <pc:sldMkLst>
          <pc:docMk/>
          <pc:sldMk cId="2130477630" sldId="535"/>
        </pc:sldMkLst>
        <pc:spChg chg="del">
          <ac:chgData name="Philippe CERISIER" userId="243b6f8e-f1ab-49a6-91db-d0e885322b27" providerId="ADAL" clId="{B5897DA3-1260-4362-A2B6-674830C0E4B3}" dt="2020-11-26T22:11:04.233" v="1035" actId="478"/>
          <ac:spMkLst>
            <pc:docMk/>
            <pc:sldMk cId="2130477630" sldId="535"/>
            <ac:spMk id="2" creationId="{77C91BE5-C9B3-4F61-9614-C4AA4F71915A}"/>
          </ac:spMkLst>
        </pc:spChg>
        <pc:spChg chg="add mod">
          <ac:chgData name="Philippe CERISIER" userId="243b6f8e-f1ab-49a6-91db-d0e885322b27" providerId="ADAL" clId="{B5897DA3-1260-4362-A2B6-674830C0E4B3}" dt="2020-11-27T10:57:31.747" v="2889" actId="207"/>
          <ac:spMkLst>
            <pc:docMk/>
            <pc:sldMk cId="2130477630" sldId="535"/>
            <ac:spMk id="10" creationId="{F5577261-C4A6-448C-B39A-0A7C389685BF}"/>
          </ac:spMkLst>
        </pc:spChg>
        <pc:spChg chg="add mod">
          <ac:chgData name="Philippe CERISIER" userId="243b6f8e-f1ab-49a6-91db-d0e885322b27" providerId="ADAL" clId="{B5897DA3-1260-4362-A2B6-674830C0E4B3}" dt="2020-11-27T10:57:38.780" v="2890" actId="207"/>
          <ac:spMkLst>
            <pc:docMk/>
            <pc:sldMk cId="2130477630" sldId="535"/>
            <ac:spMk id="11" creationId="{E3A8250A-582D-48D6-BC69-FAE52C040310}"/>
          </ac:spMkLst>
        </pc:spChg>
        <pc:picChg chg="add mod">
          <ac:chgData name="Philippe CERISIER" userId="243b6f8e-f1ab-49a6-91db-d0e885322b27" providerId="ADAL" clId="{B5897DA3-1260-4362-A2B6-674830C0E4B3}" dt="2020-11-27T10:55:45.366" v="2882" actId="14100"/>
          <ac:picMkLst>
            <pc:docMk/>
            <pc:sldMk cId="2130477630" sldId="535"/>
            <ac:picMk id="7" creationId="{741A33D7-FF2E-4976-9F8D-A9CD3540BF97}"/>
          </ac:picMkLst>
        </pc:picChg>
        <pc:picChg chg="add mod">
          <ac:chgData name="Philippe CERISIER" userId="243b6f8e-f1ab-49a6-91db-d0e885322b27" providerId="ADAL" clId="{B5897DA3-1260-4362-A2B6-674830C0E4B3}" dt="2020-11-27T10:55:53.895" v="2884" actId="14100"/>
          <ac:picMkLst>
            <pc:docMk/>
            <pc:sldMk cId="2130477630" sldId="535"/>
            <ac:picMk id="8" creationId="{7A7A0202-D420-4389-AF8B-4F5B5E76AE59}"/>
          </ac:picMkLst>
        </pc:picChg>
        <pc:picChg chg="del">
          <ac:chgData name="Philippe CERISIER" userId="243b6f8e-f1ab-49a6-91db-d0e885322b27" providerId="ADAL" clId="{B5897DA3-1260-4362-A2B6-674830C0E4B3}" dt="2020-11-26T22:11:37.855" v="1039"/>
          <ac:picMkLst>
            <pc:docMk/>
            <pc:sldMk cId="2130477630" sldId="535"/>
            <ac:picMk id="9" creationId="{57ADFA6F-E83B-4EB9-9B4A-88082DCE152D}"/>
          </ac:picMkLst>
        </pc:picChg>
      </pc:sldChg>
      <pc:sldChg chg="addSp delSp modSp add">
        <pc:chgData name="Philippe CERISIER" userId="243b6f8e-f1ab-49a6-91db-d0e885322b27" providerId="ADAL" clId="{B5897DA3-1260-4362-A2B6-674830C0E4B3}" dt="2020-11-27T14:09:41.673" v="3747" actId="207"/>
        <pc:sldMkLst>
          <pc:docMk/>
          <pc:sldMk cId="3390489573" sldId="536"/>
        </pc:sldMkLst>
        <pc:spChg chg="del mod">
          <ac:chgData name="Philippe CERISIER" userId="243b6f8e-f1ab-49a6-91db-d0e885322b27" providerId="ADAL" clId="{B5897DA3-1260-4362-A2B6-674830C0E4B3}" dt="2020-11-27T11:00:29.969" v="2915" actId="478"/>
          <ac:spMkLst>
            <pc:docMk/>
            <pc:sldMk cId="3390489573" sldId="536"/>
            <ac:spMk id="2" creationId="{EF22EC28-E1C4-4A1E-B4F2-541509A14A58}"/>
          </ac:spMkLst>
        </pc:spChg>
        <pc:spChg chg="del mod">
          <ac:chgData name="Philippe CERISIER" userId="243b6f8e-f1ab-49a6-91db-d0e885322b27" providerId="ADAL" clId="{B5897DA3-1260-4362-A2B6-674830C0E4B3}" dt="2020-11-27T10:59:40.888" v="2908" actId="478"/>
          <ac:spMkLst>
            <pc:docMk/>
            <pc:sldMk cId="3390489573" sldId="536"/>
            <ac:spMk id="3" creationId="{3B25B0F1-139D-4722-8834-B0D94CA8094E}"/>
          </ac:spMkLst>
        </pc:spChg>
        <pc:spChg chg="add mod">
          <ac:chgData name="Philippe CERISIER" userId="243b6f8e-f1ab-49a6-91db-d0e885322b27" providerId="ADAL" clId="{B5897DA3-1260-4362-A2B6-674830C0E4B3}" dt="2020-11-27T14:09:41.673" v="3747" actId="207"/>
          <ac:spMkLst>
            <pc:docMk/>
            <pc:sldMk cId="3390489573" sldId="536"/>
            <ac:spMk id="11" creationId="{1711B8C4-F35D-4E94-87E2-3ADA4D799F29}"/>
          </ac:spMkLst>
        </pc:spChg>
        <pc:spChg chg="add del mod">
          <ac:chgData name="Philippe CERISIER" userId="243b6f8e-f1ab-49a6-91db-d0e885322b27" providerId="ADAL" clId="{B5897DA3-1260-4362-A2B6-674830C0E4B3}" dt="2020-11-27T11:00:39.621" v="2917"/>
          <ac:spMkLst>
            <pc:docMk/>
            <pc:sldMk cId="3390489573" sldId="536"/>
            <ac:spMk id="14" creationId="{011EC0F4-A750-4251-AF5A-B4F5F37F5204}"/>
          </ac:spMkLst>
        </pc:spChg>
        <pc:spChg chg="add mod">
          <ac:chgData name="Philippe CERISIER" userId="243b6f8e-f1ab-49a6-91db-d0e885322b27" providerId="ADAL" clId="{B5897DA3-1260-4362-A2B6-674830C0E4B3}" dt="2020-11-27T14:08:00.068" v="3731" actId="14100"/>
          <ac:spMkLst>
            <pc:docMk/>
            <pc:sldMk cId="3390489573" sldId="536"/>
            <ac:spMk id="15" creationId="{D28C6284-39AA-4E8E-A506-738B2ABC28D1}"/>
          </ac:spMkLst>
        </pc:spChg>
        <pc:spChg chg="add mod ord">
          <ac:chgData name="Philippe CERISIER" userId="243b6f8e-f1ab-49a6-91db-d0e885322b27" providerId="ADAL" clId="{B5897DA3-1260-4362-A2B6-674830C0E4B3}" dt="2020-11-27T14:09:21.784" v="3745" actId="207"/>
          <ac:spMkLst>
            <pc:docMk/>
            <pc:sldMk cId="3390489573" sldId="536"/>
            <ac:spMk id="16" creationId="{F35290ED-DA43-4D1F-BE06-7C85475E04A0}"/>
          </ac:spMkLst>
        </pc:spChg>
        <pc:spChg chg="add mod ord">
          <ac:chgData name="Philippe CERISIER" userId="243b6f8e-f1ab-49a6-91db-d0e885322b27" providerId="ADAL" clId="{B5897DA3-1260-4362-A2B6-674830C0E4B3}" dt="2020-11-27T14:08:23.588" v="3735" actId="167"/>
          <ac:spMkLst>
            <pc:docMk/>
            <pc:sldMk cId="3390489573" sldId="536"/>
            <ac:spMk id="17" creationId="{2103750E-B1DA-448B-A337-DD950510EF9F}"/>
          </ac:spMkLst>
        </pc:spChg>
        <pc:spChg chg="add del mod">
          <ac:chgData name="Philippe CERISIER" userId="243b6f8e-f1ab-49a6-91db-d0e885322b27" providerId="ADAL" clId="{B5897DA3-1260-4362-A2B6-674830C0E4B3}" dt="2020-11-27T14:09:03.661" v="3742" actId="11529"/>
          <ac:spMkLst>
            <pc:docMk/>
            <pc:sldMk cId="3390489573" sldId="536"/>
            <ac:spMk id="18" creationId="{50CA3AD5-22B7-4B15-BE38-06A7AC2EEADB}"/>
          </ac:spMkLst>
        </pc:spChg>
        <pc:picChg chg="add mod">
          <ac:chgData name="Philippe CERISIER" userId="243b6f8e-f1ab-49a6-91db-d0e885322b27" providerId="ADAL" clId="{B5897DA3-1260-4362-A2B6-674830C0E4B3}" dt="2020-11-27T14:06:49.059" v="3640" actId="1076"/>
          <ac:picMkLst>
            <pc:docMk/>
            <pc:sldMk cId="3390489573" sldId="536"/>
            <ac:picMk id="7" creationId="{1BD67988-F545-4BDE-A192-D1FD1F4061DE}"/>
          </ac:picMkLst>
        </pc:picChg>
        <pc:picChg chg="add del mod">
          <ac:chgData name="Philippe CERISIER" userId="243b6f8e-f1ab-49a6-91db-d0e885322b27" providerId="ADAL" clId="{B5897DA3-1260-4362-A2B6-674830C0E4B3}" dt="2020-11-27T10:58:03.196" v="2892" actId="478"/>
          <ac:picMkLst>
            <pc:docMk/>
            <pc:sldMk cId="3390489573" sldId="536"/>
            <ac:picMk id="8" creationId="{63355F97-FF64-4A4C-9A01-B9570A6C3975}"/>
          </ac:picMkLst>
        </pc:picChg>
        <pc:picChg chg="add del mod">
          <ac:chgData name="Philippe CERISIER" userId="243b6f8e-f1ab-49a6-91db-d0e885322b27" providerId="ADAL" clId="{B5897DA3-1260-4362-A2B6-674830C0E4B3}" dt="2020-11-27T10:58:00.893" v="2891" actId="478"/>
          <ac:picMkLst>
            <pc:docMk/>
            <pc:sldMk cId="3390489573" sldId="536"/>
            <ac:picMk id="9" creationId="{89782C18-AC2C-442A-A846-B32703C7E6EC}"/>
          </ac:picMkLst>
        </pc:picChg>
        <pc:picChg chg="add mod">
          <ac:chgData name="Philippe CERISIER" userId="243b6f8e-f1ab-49a6-91db-d0e885322b27" providerId="ADAL" clId="{B5897DA3-1260-4362-A2B6-674830C0E4B3}" dt="2020-11-27T10:59:44.567" v="2909" actId="1076"/>
          <ac:picMkLst>
            <pc:docMk/>
            <pc:sldMk cId="3390489573" sldId="536"/>
            <ac:picMk id="10" creationId="{E8179540-F457-40B3-A060-538F3E364CCE}"/>
          </ac:picMkLst>
        </pc:picChg>
        <pc:picChg chg="add mod">
          <ac:chgData name="Philippe CERISIER" userId="243b6f8e-f1ab-49a6-91db-d0e885322b27" providerId="ADAL" clId="{B5897DA3-1260-4362-A2B6-674830C0E4B3}" dt="2020-11-27T10:59:53.095" v="2911" actId="1076"/>
          <ac:picMkLst>
            <pc:docMk/>
            <pc:sldMk cId="3390489573" sldId="536"/>
            <ac:picMk id="12" creationId="{5501B896-79CA-4EBB-9E00-06804E5072A4}"/>
          </ac:picMkLst>
        </pc:picChg>
      </pc:sldChg>
      <pc:sldChg chg="modSp add del">
        <pc:chgData name="Philippe CERISIER" userId="243b6f8e-f1ab-49a6-91db-d0e885322b27" providerId="ADAL" clId="{B5897DA3-1260-4362-A2B6-674830C0E4B3}" dt="2020-11-27T14:09:46.799" v="3748" actId="2696"/>
        <pc:sldMkLst>
          <pc:docMk/>
          <pc:sldMk cId="2722238891" sldId="537"/>
        </pc:sldMkLst>
        <pc:spChg chg="mod">
          <ac:chgData name="Philippe CERISIER" userId="243b6f8e-f1ab-49a6-91db-d0e885322b27" providerId="ADAL" clId="{B5897DA3-1260-4362-A2B6-674830C0E4B3}" dt="2020-11-27T11:00:18.459" v="2913" actId="6549"/>
          <ac:spMkLst>
            <pc:docMk/>
            <pc:sldMk cId="2722238891" sldId="537"/>
            <ac:spMk id="2" creationId="{6E13094D-554C-482F-8131-78E166BA7AED}"/>
          </ac:spMkLst>
        </pc:spChg>
      </pc:sldChg>
      <pc:sldChg chg="modSp add del">
        <pc:chgData name="Philippe CERISIER" userId="243b6f8e-f1ab-49a6-91db-d0e885322b27" providerId="ADAL" clId="{B5897DA3-1260-4362-A2B6-674830C0E4B3}" dt="2020-11-27T13:25:41.760" v="3231" actId="2696"/>
        <pc:sldMkLst>
          <pc:docMk/>
          <pc:sldMk cId="821383129" sldId="538"/>
        </pc:sldMkLst>
        <pc:spChg chg="mod">
          <ac:chgData name="Philippe CERISIER" userId="243b6f8e-f1ab-49a6-91db-d0e885322b27" providerId="ADAL" clId="{B5897DA3-1260-4362-A2B6-674830C0E4B3}" dt="2020-11-26T22:28:56.777" v="1559" actId="1076"/>
          <ac:spMkLst>
            <pc:docMk/>
            <pc:sldMk cId="821383129" sldId="538"/>
            <ac:spMk id="5" creationId="{00000000-0000-0000-0000-000000000000}"/>
          </ac:spMkLst>
        </pc:spChg>
      </pc:sldChg>
      <pc:sldChg chg="addSp delSp modSp add">
        <pc:chgData name="Philippe CERISIER" userId="243b6f8e-f1ab-49a6-91db-d0e885322b27" providerId="ADAL" clId="{B5897DA3-1260-4362-A2B6-674830C0E4B3}" dt="2020-11-27T10:01:33.750" v="1754" actId="207"/>
        <pc:sldMkLst>
          <pc:docMk/>
          <pc:sldMk cId="274947420" sldId="539"/>
        </pc:sldMkLst>
        <pc:spChg chg="del mod">
          <ac:chgData name="Philippe CERISIER" userId="243b6f8e-f1ab-49a6-91db-d0e885322b27" providerId="ADAL" clId="{B5897DA3-1260-4362-A2B6-674830C0E4B3}" dt="2020-11-27T09:55:36.815" v="1689"/>
          <ac:spMkLst>
            <pc:docMk/>
            <pc:sldMk cId="274947420" sldId="539"/>
            <ac:spMk id="2" creationId="{9EE2C9AE-37DE-48D7-88C0-49A84C2F42C7}"/>
          </ac:spMkLst>
        </pc:spChg>
        <pc:spChg chg="mod">
          <ac:chgData name="Philippe CERISIER" userId="243b6f8e-f1ab-49a6-91db-d0e885322b27" providerId="ADAL" clId="{B5897DA3-1260-4362-A2B6-674830C0E4B3}" dt="2020-11-27T09:55:02.276" v="1687" actId="313"/>
          <ac:spMkLst>
            <pc:docMk/>
            <pc:sldMk cId="274947420" sldId="539"/>
            <ac:spMk id="3" creationId="{A3A6EED0-8B4B-4DEE-9262-C0A7B2B49B39}"/>
          </ac:spMkLst>
        </pc:spChg>
        <pc:spChg chg="add mod">
          <ac:chgData name="Philippe CERISIER" userId="243b6f8e-f1ab-49a6-91db-d0e885322b27" providerId="ADAL" clId="{B5897DA3-1260-4362-A2B6-674830C0E4B3}" dt="2020-11-27T09:57:28.862" v="1694" actId="1076"/>
          <ac:spMkLst>
            <pc:docMk/>
            <pc:sldMk cId="274947420" sldId="539"/>
            <ac:spMk id="7" creationId="{E7AD5673-3306-45E2-AB7B-91078C85D632}"/>
          </ac:spMkLst>
        </pc:spChg>
        <pc:spChg chg="add del">
          <ac:chgData name="Philippe CERISIER" userId="243b6f8e-f1ab-49a6-91db-d0e885322b27" providerId="ADAL" clId="{B5897DA3-1260-4362-A2B6-674830C0E4B3}" dt="2020-11-27T09:57:19.691" v="1693"/>
          <ac:spMkLst>
            <pc:docMk/>
            <pc:sldMk cId="274947420" sldId="539"/>
            <ac:spMk id="8" creationId="{F6F6AE7D-DA44-44E3-9117-612ABAB5F3F4}"/>
          </ac:spMkLst>
        </pc:spChg>
        <pc:spChg chg="add mod">
          <ac:chgData name="Philippe CERISIER" userId="243b6f8e-f1ab-49a6-91db-d0e885322b27" providerId="ADAL" clId="{B5897DA3-1260-4362-A2B6-674830C0E4B3}" dt="2020-11-27T10:01:33.750" v="1754" actId="207"/>
          <ac:spMkLst>
            <pc:docMk/>
            <pc:sldMk cId="274947420" sldId="539"/>
            <ac:spMk id="10" creationId="{E4B871F4-F4D2-47FC-842C-489D0E653D7F}"/>
          </ac:spMkLst>
        </pc:spChg>
        <pc:picChg chg="add mod">
          <ac:chgData name="Philippe CERISIER" userId="243b6f8e-f1ab-49a6-91db-d0e885322b27" providerId="ADAL" clId="{B5897DA3-1260-4362-A2B6-674830C0E4B3}" dt="2020-11-27T10:00:28.247" v="1700" actId="14100"/>
          <ac:picMkLst>
            <pc:docMk/>
            <pc:sldMk cId="274947420" sldId="539"/>
            <ac:picMk id="9" creationId="{C11C2447-F4A6-49FE-B2D8-1E329D6E6AB2}"/>
          </ac:picMkLst>
        </pc:picChg>
      </pc:sldChg>
      <pc:sldChg chg="addSp delSp modSp add">
        <pc:chgData name="Philippe CERISIER" userId="243b6f8e-f1ab-49a6-91db-d0e885322b27" providerId="ADAL" clId="{B5897DA3-1260-4362-A2B6-674830C0E4B3}" dt="2020-11-27T10:16:31.178" v="1983" actId="478"/>
        <pc:sldMkLst>
          <pc:docMk/>
          <pc:sldMk cId="4101682940" sldId="540"/>
        </pc:sldMkLst>
        <pc:spChg chg="del mod">
          <ac:chgData name="Philippe CERISIER" userId="243b6f8e-f1ab-49a6-91db-d0e885322b27" providerId="ADAL" clId="{B5897DA3-1260-4362-A2B6-674830C0E4B3}" dt="2020-11-27T10:07:53.294" v="1915" actId="478"/>
          <ac:spMkLst>
            <pc:docMk/>
            <pc:sldMk cId="4101682940" sldId="540"/>
            <ac:spMk id="2" creationId="{D9ED47EC-1C44-42DF-A6B6-26F43A552FC5}"/>
          </ac:spMkLst>
        </pc:spChg>
        <pc:spChg chg="del">
          <ac:chgData name="Philippe CERISIER" userId="243b6f8e-f1ab-49a6-91db-d0e885322b27" providerId="ADAL" clId="{B5897DA3-1260-4362-A2B6-674830C0E4B3}" dt="2020-11-27T10:16:31.178" v="1983" actId="478"/>
          <ac:spMkLst>
            <pc:docMk/>
            <pc:sldMk cId="4101682940" sldId="540"/>
            <ac:spMk id="3" creationId="{F5B2F20B-AD1B-4456-8C6D-98C00278EC0A}"/>
          </ac:spMkLst>
        </pc:spChg>
        <pc:spChg chg="add mod">
          <ac:chgData name="Philippe CERISIER" userId="243b6f8e-f1ab-49a6-91db-d0e885322b27" providerId="ADAL" clId="{B5897DA3-1260-4362-A2B6-674830C0E4B3}" dt="2020-11-27T10:16:23.852" v="1982" actId="207"/>
          <ac:spMkLst>
            <pc:docMk/>
            <pc:sldMk cId="4101682940" sldId="540"/>
            <ac:spMk id="9" creationId="{EE9158E2-9B05-4E06-BBBC-06041DF054A8}"/>
          </ac:spMkLst>
        </pc:spChg>
        <pc:picChg chg="add mod">
          <ac:chgData name="Philippe CERISIER" userId="243b6f8e-f1ab-49a6-91db-d0e885322b27" providerId="ADAL" clId="{B5897DA3-1260-4362-A2B6-674830C0E4B3}" dt="2020-11-27T10:12:41.499" v="1919" actId="1076"/>
          <ac:picMkLst>
            <pc:docMk/>
            <pc:sldMk cId="4101682940" sldId="540"/>
            <ac:picMk id="7" creationId="{A2FC7FE8-46B0-4F45-A2CA-794C2D6E2715}"/>
          </ac:picMkLst>
        </pc:picChg>
        <pc:picChg chg="add mod">
          <ac:chgData name="Philippe CERISIER" userId="243b6f8e-f1ab-49a6-91db-d0e885322b27" providerId="ADAL" clId="{B5897DA3-1260-4362-A2B6-674830C0E4B3}" dt="2020-11-27T10:12:44.548" v="1920" actId="1076"/>
          <ac:picMkLst>
            <pc:docMk/>
            <pc:sldMk cId="4101682940" sldId="540"/>
            <ac:picMk id="8" creationId="{18601D8D-0BE4-4F93-A9CD-62A65BAE0AC5}"/>
          </ac:picMkLst>
        </pc:picChg>
      </pc:sldChg>
      <pc:sldChg chg="addSp modSp add">
        <pc:chgData name="Philippe CERISIER" userId="243b6f8e-f1ab-49a6-91db-d0e885322b27" providerId="ADAL" clId="{B5897DA3-1260-4362-A2B6-674830C0E4B3}" dt="2020-11-27T10:37:01.491" v="2337" actId="1076"/>
        <pc:sldMkLst>
          <pc:docMk/>
          <pc:sldMk cId="3043733018" sldId="541"/>
        </pc:sldMkLst>
        <pc:spChg chg="mod">
          <ac:chgData name="Philippe CERISIER" userId="243b6f8e-f1ab-49a6-91db-d0e885322b27" providerId="ADAL" clId="{B5897DA3-1260-4362-A2B6-674830C0E4B3}" dt="2020-11-27T10:37:01.491" v="2337" actId="1076"/>
          <ac:spMkLst>
            <pc:docMk/>
            <pc:sldMk cId="3043733018" sldId="541"/>
            <ac:spMk id="2" creationId="{067F8C35-6C7D-4F93-8003-B541802A6A26}"/>
          </ac:spMkLst>
        </pc:spChg>
        <pc:picChg chg="add mod">
          <ac:chgData name="Philippe CERISIER" userId="243b6f8e-f1ab-49a6-91db-d0e885322b27" providerId="ADAL" clId="{B5897DA3-1260-4362-A2B6-674830C0E4B3}" dt="2020-11-27T10:36:23.346" v="2324" actId="1076"/>
          <ac:picMkLst>
            <pc:docMk/>
            <pc:sldMk cId="3043733018" sldId="541"/>
            <ac:picMk id="7" creationId="{92DB8836-A775-4D1C-9430-30EEEABAD870}"/>
          </ac:picMkLst>
        </pc:picChg>
      </pc:sldChg>
      <pc:sldChg chg="modSp add">
        <pc:chgData name="Philippe CERISIER" userId="243b6f8e-f1ab-49a6-91db-d0e885322b27" providerId="ADAL" clId="{B5897DA3-1260-4362-A2B6-674830C0E4B3}" dt="2020-11-27T10:38:42.772" v="2349" actId="1076"/>
        <pc:sldMkLst>
          <pc:docMk/>
          <pc:sldMk cId="83528767" sldId="542"/>
        </pc:sldMkLst>
        <pc:spChg chg="mod">
          <ac:chgData name="Philippe CERISIER" userId="243b6f8e-f1ab-49a6-91db-d0e885322b27" providerId="ADAL" clId="{B5897DA3-1260-4362-A2B6-674830C0E4B3}" dt="2020-11-27T10:38:42.772" v="2349" actId="1076"/>
          <ac:spMkLst>
            <pc:docMk/>
            <pc:sldMk cId="83528767" sldId="542"/>
            <ac:spMk id="5" creationId="{00000000-0000-0000-0000-000000000000}"/>
          </ac:spMkLst>
        </pc:spChg>
      </pc:sldChg>
      <pc:sldChg chg="addSp delSp modSp add">
        <pc:chgData name="Philippe CERISIER" userId="243b6f8e-f1ab-49a6-91db-d0e885322b27" providerId="ADAL" clId="{B5897DA3-1260-4362-A2B6-674830C0E4B3}" dt="2020-11-27T10:47:54.387" v="2666" actId="20577"/>
        <pc:sldMkLst>
          <pc:docMk/>
          <pc:sldMk cId="1822938849" sldId="543"/>
        </pc:sldMkLst>
        <pc:spChg chg="mod">
          <ac:chgData name="Philippe CERISIER" userId="243b6f8e-f1ab-49a6-91db-d0e885322b27" providerId="ADAL" clId="{B5897DA3-1260-4362-A2B6-674830C0E4B3}" dt="2020-11-27T10:41:36.986" v="2476" actId="207"/>
          <ac:spMkLst>
            <pc:docMk/>
            <pc:sldMk cId="1822938849" sldId="543"/>
            <ac:spMk id="2" creationId="{CEB1E07B-E266-41BF-B826-7727C74BB358}"/>
          </ac:spMkLst>
        </pc:spChg>
        <pc:spChg chg="add mod">
          <ac:chgData name="Philippe CERISIER" userId="243b6f8e-f1ab-49a6-91db-d0e885322b27" providerId="ADAL" clId="{B5897DA3-1260-4362-A2B6-674830C0E4B3}" dt="2020-11-27T10:44:18.353" v="2483" actId="2085"/>
          <ac:spMkLst>
            <pc:docMk/>
            <pc:sldMk cId="1822938849" sldId="543"/>
            <ac:spMk id="8" creationId="{FEE68006-EE5A-4B1C-9091-B35C40B823F3}"/>
          </ac:spMkLst>
        </pc:spChg>
        <pc:spChg chg="add mod">
          <ac:chgData name="Philippe CERISIER" userId="243b6f8e-f1ab-49a6-91db-d0e885322b27" providerId="ADAL" clId="{B5897DA3-1260-4362-A2B6-674830C0E4B3}" dt="2020-11-27T10:47:54.387" v="2666" actId="20577"/>
          <ac:spMkLst>
            <pc:docMk/>
            <pc:sldMk cId="1822938849" sldId="543"/>
            <ac:spMk id="9" creationId="{E9EDBC8F-F166-446E-8E32-BD810CE130FA}"/>
          </ac:spMkLst>
        </pc:spChg>
        <pc:picChg chg="add mod">
          <ac:chgData name="Philippe CERISIER" userId="243b6f8e-f1ab-49a6-91db-d0e885322b27" providerId="ADAL" clId="{B5897DA3-1260-4362-A2B6-674830C0E4B3}" dt="2020-11-27T10:39:35.195" v="2355" actId="1076"/>
          <ac:picMkLst>
            <pc:docMk/>
            <pc:sldMk cId="1822938849" sldId="543"/>
            <ac:picMk id="7" creationId="{8D15643F-8A12-4E4E-8C52-8D6B1D3080B6}"/>
          </ac:picMkLst>
        </pc:picChg>
        <pc:picChg chg="add del mod">
          <ac:chgData name="Philippe CERISIER" userId="243b6f8e-f1ab-49a6-91db-d0e885322b27" providerId="ADAL" clId="{B5897DA3-1260-4362-A2B6-674830C0E4B3}" dt="2020-11-27T10:44:33.144" v="2484" actId="478"/>
          <ac:picMkLst>
            <pc:docMk/>
            <pc:sldMk cId="1822938849" sldId="543"/>
            <ac:picMk id="5122" creationId="{84A0F453-E9D5-4E2D-A150-93E79DAEFBE0}"/>
          </ac:picMkLst>
        </pc:picChg>
        <pc:picChg chg="add del mod">
          <ac:chgData name="Philippe CERISIER" userId="243b6f8e-f1ab-49a6-91db-d0e885322b27" providerId="ADAL" clId="{B5897DA3-1260-4362-A2B6-674830C0E4B3}" dt="2020-11-27T10:45:32.460" v="2488" actId="478"/>
          <ac:picMkLst>
            <pc:docMk/>
            <pc:sldMk cId="1822938849" sldId="543"/>
            <ac:picMk id="5124" creationId="{22120C26-C86D-447E-94A1-74EBB7A3D465}"/>
          </ac:picMkLst>
        </pc:picChg>
        <pc:picChg chg="add mod">
          <ac:chgData name="Philippe CERISIER" userId="243b6f8e-f1ab-49a6-91db-d0e885322b27" providerId="ADAL" clId="{B5897DA3-1260-4362-A2B6-674830C0E4B3}" dt="2020-11-27T10:45:48.118" v="2490" actId="1076"/>
          <ac:picMkLst>
            <pc:docMk/>
            <pc:sldMk cId="1822938849" sldId="543"/>
            <ac:picMk id="5126" creationId="{5FDC0F48-B0B6-4FDC-BE31-68925C191815}"/>
          </ac:picMkLst>
        </pc:picChg>
      </pc:sldChg>
      <pc:sldChg chg="addSp modSp add">
        <pc:chgData name="Philippe CERISIER" userId="243b6f8e-f1ab-49a6-91db-d0e885322b27" providerId="ADAL" clId="{B5897DA3-1260-4362-A2B6-674830C0E4B3}" dt="2020-11-27T10:55:19.885" v="2880" actId="6549"/>
        <pc:sldMkLst>
          <pc:docMk/>
          <pc:sldMk cId="2909891923" sldId="544"/>
        </pc:sldMkLst>
        <pc:spChg chg="mod">
          <ac:chgData name="Philippe CERISIER" userId="243b6f8e-f1ab-49a6-91db-d0e885322b27" providerId="ADAL" clId="{B5897DA3-1260-4362-A2B6-674830C0E4B3}" dt="2020-11-27T10:53:12.809" v="2809" actId="403"/>
          <ac:spMkLst>
            <pc:docMk/>
            <pc:sldMk cId="2909891923" sldId="544"/>
            <ac:spMk id="2" creationId="{303F083D-C967-485A-A4EC-3F4DF034F80D}"/>
          </ac:spMkLst>
        </pc:spChg>
        <pc:spChg chg="mod">
          <ac:chgData name="Philippe CERISIER" userId="243b6f8e-f1ab-49a6-91db-d0e885322b27" providerId="ADAL" clId="{B5897DA3-1260-4362-A2B6-674830C0E4B3}" dt="2020-11-27T10:55:19.885" v="2880" actId="6549"/>
          <ac:spMkLst>
            <pc:docMk/>
            <pc:sldMk cId="2909891923" sldId="544"/>
            <ac:spMk id="3" creationId="{20890CEF-531F-4523-A5C7-F5839ABF8C04}"/>
          </ac:spMkLst>
        </pc:spChg>
        <pc:spChg chg="add mod">
          <ac:chgData name="Philippe CERISIER" userId="243b6f8e-f1ab-49a6-91db-d0e885322b27" providerId="ADAL" clId="{B5897DA3-1260-4362-A2B6-674830C0E4B3}" dt="2020-11-27T10:53:32.767" v="2813" actId="14100"/>
          <ac:spMkLst>
            <pc:docMk/>
            <pc:sldMk cId="2909891923" sldId="544"/>
            <ac:spMk id="9" creationId="{56BECCC8-D08F-4C72-8A89-5FED3C925993}"/>
          </ac:spMkLst>
        </pc:spChg>
        <pc:spChg chg="add mod ord">
          <ac:chgData name="Philippe CERISIER" userId="243b6f8e-f1ab-49a6-91db-d0e885322b27" providerId="ADAL" clId="{B5897DA3-1260-4362-A2B6-674830C0E4B3}" dt="2020-11-27T10:51:44.276" v="2767" actId="207"/>
          <ac:spMkLst>
            <pc:docMk/>
            <pc:sldMk cId="2909891923" sldId="544"/>
            <ac:spMk id="10" creationId="{3D6EB658-EA9B-47EE-BEE7-327F402CBCBD}"/>
          </ac:spMkLst>
        </pc:spChg>
        <pc:spChg chg="add mod ord">
          <ac:chgData name="Philippe CERISIER" userId="243b6f8e-f1ab-49a6-91db-d0e885322b27" providerId="ADAL" clId="{B5897DA3-1260-4362-A2B6-674830C0E4B3}" dt="2020-11-27T10:52:17.682" v="2770" actId="167"/>
          <ac:spMkLst>
            <pc:docMk/>
            <pc:sldMk cId="2909891923" sldId="544"/>
            <ac:spMk id="11" creationId="{BE12F59F-E331-4BDB-B310-91C8366EC643}"/>
          </ac:spMkLst>
        </pc:spChg>
        <pc:picChg chg="add mod">
          <ac:chgData name="Philippe CERISIER" userId="243b6f8e-f1ab-49a6-91db-d0e885322b27" providerId="ADAL" clId="{B5897DA3-1260-4362-A2B6-674830C0E4B3}" dt="2020-11-27T10:48:39.188" v="2671" actId="1076"/>
          <ac:picMkLst>
            <pc:docMk/>
            <pc:sldMk cId="2909891923" sldId="544"/>
            <ac:picMk id="7" creationId="{274BDA66-4B2B-4C73-80B8-B0307C0C1C22}"/>
          </ac:picMkLst>
        </pc:picChg>
        <pc:picChg chg="add mod">
          <ac:chgData name="Philippe CERISIER" userId="243b6f8e-f1ab-49a6-91db-d0e885322b27" providerId="ADAL" clId="{B5897DA3-1260-4362-A2B6-674830C0E4B3}" dt="2020-11-27T10:48:58.093" v="2674" actId="14100"/>
          <ac:picMkLst>
            <pc:docMk/>
            <pc:sldMk cId="2909891923" sldId="544"/>
            <ac:picMk id="8" creationId="{2B9ECCF8-D402-4465-8281-4A6C1F159F98}"/>
          </ac:picMkLst>
        </pc:picChg>
        <pc:cxnChg chg="add mod">
          <ac:chgData name="Philippe CERISIER" userId="243b6f8e-f1ab-49a6-91db-d0e885322b27" providerId="ADAL" clId="{B5897DA3-1260-4362-A2B6-674830C0E4B3}" dt="2020-11-27T10:54:39.050" v="2852" actId="692"/>
          <ac:cxnSpMkLst>
            <pc:docMk/>
            <pc:sldMk cId="2909891923" sldId="544"/>
            <ac:cxnSpMk id="13" creationId="{E7A906C2-4948-4C6F-BE55-38CA14DB9F24}"/>
          </ac:cxnSpMkLst>
        </pc:cxnChg>
      </pc:sldChg>
      <pc:sldChg chg="addSp modSp add">
        <pc:chgData name="Philippe CERISIER" userId="243b6f8e-f1ab-49a6-91db-d0e885322b27" providerId="ADAL" clId="{B5897DA3-1260-4362-A2B6-674830C0E4B3}" dt="2020-11-27T14:20:06.105" v="3996" actId="207"/>
        <pc:sldMkLst>
          <pc:docMk/>
          <pc:sldMk cId="4034994452" sldId="545"/>
        </pc:sldMkLst>
        <pc:spChg chg="mod">
          <ac:chgData name="Philippe CERISIER" userId="243b6f8e-f1ab-49a6-91db-d0e885322b27" providerId="ADAL" clId="{B5897DA3-1260-4362-A2B6-674830C0E4B3}" dt="2020-11-27T14:20:06.105" v="3996" actId="207"/>
          <ac:spMkLst>
            <pc:docMk/>
            <pc:sldMk cId="4034994452" sldId="545"/>
            <ac:spMk id="2" creationId="{29461E96-BF5A-4775-931A-354310BD04D6}"/>
          </ac:spMkLst>
        </pc:spChg>
        <pc:spChg chg="mod">
          <ac:chgData name="Philippe CERISIER" userId="243b6f8e-f1ab-49a6-91db-d0e885322b27" providerId="ADAL" clId="{B5897DA3-1260-4362-A2B6-674830C0E4B3}" dt="2020-11-27T14:15:02.301" v="3812" actId="6549"/>
          <ac:spMkLst>
            <pc:docMk/>
            <pc:sldMk cId="4034994452" sldId="545"/>
            <ac:spMk id="3" creationId="{55EA5085-90E0-4FEA-8A11-9733AC2CAFB1}"/>
          </ac:spMkLst>
        </pc:spChg>
        <pc:picChg chg="add mod">
          <ac:chgData name="Philippe CERISIER" userId="243b6f8e-f1ab-49a6-91db-d0e885322b27" providerId="ADAL" clId="{B5897DA3-1260-4362-A2B6-674830C0E4B3}" dt="2020-11-27T14:15:15.340" v="3817" actId="1076"/>
          <ac:picMkLst>
            <pc:docMk/>
            <pc:sldMk cId="4034994452" sldId="545"/>
            <ac:picMk id="7" creationId="{B274F436-9D79-4A1D-818E-9F8FC8865E5C}"/>
          </ac:picMkLst>
        </pc:picChg>
        <pc:picChg chg="add mod">
          <ac:chgData name="Philippe CERISIER" userId="243b6f8e-f1ab-49a6-91db-d0e885322b27" providerId="ADAL" clId="{B5897DA3-1260-4362-A2B6-674830C0E4B3}" dt="2020-11-27T14:15:26.332" v="3820" actId="14100"/>
          <ac:picMkLst>
            <pc:docMk/>
            <pc:sldMk cId="4034994452" sldId="545"/>
            <ac:picMk id="8" creationId="{E15476F8-936C-438E-A704-D23D01EAFA4E}"/>
          </ac:picMkLst>
        </pc:picChg>
        <pc:picChg chg="add mod">
          <ac:chgData name="Philippe CERISIER" userId="243b6f8e-f1ab-49a6-91db-d0e885322b27" providerId="ADAL" clId="{B5897DA3-1260-4362-A2B6-674830C0E4B3}" dt="2020-11-27T14:17:06.228" v="3906" actId="14100"/>
          <ac:picMkLst>
            <pc:docMk/>
            <pc:sldMk cId="4034994452" sldId="545"/>
            <ac:picMk id="9" creationId="{8B6BF747-C7F9-49C5-B950-20C39D353CD9}"/>
          </ac:picMkLst>
        </pc:picChg>
      </pc:sldChg>
      <pc:sldChg chg="addSp delSp modSp add">
        <pc:chgData name="Philippe CERISIER" userId="243b6f8e-f1ab-49a6-91db-d0e885322b27" providerId="ADAL" clId="{B5897DA3-1260-4362-A2B6-674830C0E4B3}" dt="2020-11-27T14:23:46.805" v="4005" actId="1076"/>
        <pc:sldMkLst>
          <pc:docMk/>
          <pc:sldMk cId="2321610371" sldId="546"/>
        </pc:sldMkLst>
        <pc:spChg chg="del">
          <ac:chgData name="Philippe CERISIER" userId="243b6f8e-f1ab-49a6-91db-d0e885322b27" providerId="ADAL" clId="{B5897DA3-1260-4362-A2B6-674830C0E4B3}" dt="2020-11-27T14:23:02.106" v="4000" actId="478"/>
          <ac:spMkLst>
            <pc:docMk/>
            <pc:sldMk cId="2321610371" sldId="546"/>
            <ac:spMk id="2" creationId="{8ED79D76-0261-4D9E-9D43-82B01F9F0D99}"/>
          </ac:spMkLst>
        </pc:spChg>
        <pc:spChg chg="add mod">
          <ac:chgData name="Philippe CERISIER" userId="243b6f8e-f1ab-49a6-91db-d0e885322b27" providerId="ADAL" clId="{B5897DA3-1260-4362-A2B6-674830C0E4B3}" dt="2020-11-27T14:23:46.805" v="4005" actId="1076"/>
          <ac:spMkLst>
            <pc:docMk/>
            <pc:sldMk cId="2321610371" sldId="546"/>
            <ac:spMk id="8" creationId="{E52A70E6-1407-4350-B511-276CCFB8C33E}"/>
          </ac:spMkLst>
        </pc:spChg>
        <pc:picChg chg="add mod">
          <ac:chgData name="Philippe CERISIER" userId="243b6f8e-f1ab-49a6-91db-d0e885322b27" providerId="ADAL" clId="{B5897DA3-1260-4362-A2B6-674830C0E4B3}" dt="2020-11-27T14:23:46.805" v="4005" actId="1076"/>
          <ac:picMkLst>
            <pc:docMk/>
            <pc:sldMk cId="2321610371" sldId="546"/>
            <ac:picMk id="7" creationId="{9F218880-18C0-4369-B154-B93B86EED8B8}"/>
          </ac:picMkLst>
        </pc:picChg>
      </pc:sldChg>
      <pc:sldChg chg="addSp delSp modSp add">
        <pc:chgData name="Philippe CERISIER" userId="243b6f8e-f1ab-49a6-91db-d0e885322b27" providerId="ADAL" clId="{B5897DA3-1260-4362-A2B6-674830C0E4B3}" dt="2020-11-27T13:14:47.361" v="3143" actId="113"/>
        <pc:sldMkLst>
          <pc:docMk/>
          <pc:sldMk cId="2638971286" sldId="547"/>
        </pc:sldMkLst>
        <pc:spChg chg="mod">
          <ac:chgData name="Philippe CERISIER" userId="243b6f8e-f1ab-49a6-91db-d0e885322b27" providerId="ADAL" clId="{B5897DA3-1260-4362-A2B6-674830C0E4B3}" dt="2020-11-27T13:05:47.037" v="3066" actId="6549"/>
          <ac:spMkLst>
            <pc:docMk/>
            <pc:sldMk cId="2638971286" sldId="547"/>
            <ac:spMk id="3" creationId="{AE15D898-A553-4326-8A98-0BFD9DA58E91}"/>
          </ac:spMkLst>
        </pc:spChg>
        <pc:graphicFrameChg chg="add mod modGraphic">
          <ac:chgData name="Philippe CERISIER" userId="243b6f8e-f1ab-49a6-91db-d0e885322b27" providerId="ADAL" clId="{B5897DA3-1260-4362-A2B6-674830C0E4B3}" dt="2020-11-27T13:11:57.514" v="3112" actId="113"/>
          <ac:graphicFrameMkLst>
            <pc:docMk/>
            <pc:sldMk cId="2638971286" sldId="547"/>
            <ac:graphicFrameMk id="2" creationId="{0A77ECF3-E320-43BB-9B7D-BFDBEDD4DA7A}"/>
          </ac:graphicFrameMkLst>
        </pc:graphicFrameChg>
        <pc:graphicFrameChg chg="add del">
          <ac:chgData name="Philippe CERISIER" userId="243b6f8e-f1ab-49a6-91db-d0e885322b27" providerId="ADAL" clId="{B5897DA3-1260-4362-A2B6-674830C0E4B3}" dt="2020-11-27T12:58:18.614" v="3023" actId="478"/>
          <ac:graphicFrameMkLst>
            <pc:docMk/>
            <pc:sldMk cId="2638971286" sldId="547"/>
            <ac:graphicFrameMk id="7" creationId="{2506EA67-CA7F-4EF8-A08B-141C4100844A}"/>
          </ac:graphicFrameMkLst>
        </pc:graphicFrameChg>
        <pc:graphicFrameChg chg="del mod modGraphic">
          <ac:chgData name="Philippe CERISIER" userId="243b6f8e-f1ab-49a6-91db-d0e885322b27" providerId="ADAL" clId="{B5897DA3-1260-4362-A2B6-674830C0E4B3}" dt="2020-11-27T12:56:17.987" v="3018" actId="478"/>
          <ac:graphicFrameMkLst>
            <pc:docMk/>
            <pc:sldMk cId="2638971286" sldId="547"/>
            <ac:graphicFrameMk id="8" creationId="{55827E9A-EFC8-4C8E-9DD4-3D816B5FF2CF}"/>
          </ac:graphicFrameMkLst>
        </pc:graphicFrameChg>
        <pc:graphicFrameChg chg="del mod">
          <ac:chgData name="Philippe CERISIER" userId="243b6f8e-f1ab-49a6-91db-d0e885322b27" providerId="ADAL" clId="{B5897DA3-1260-4362-A2B6-674830C0E4B3}" dt="2020-11-27T12:56:20.348" v="3019" actId="478"/>
          <ac:graphicFrameMkLst>
            <pc:docMk/>
            <pc:sldMk cId="2638971286" sldId="547"/>
            <ac:graphicFrameMk id="9" creationId="{68F4317F-0414-4903-80E5-4192821A2588}"/>
          </ac:graphicFrameMkLst>
        </pc:graphicFrameChg>
        <pc:graphicFrameChg chg="add del mod modGraphic">
          <ac:chgData name="Philippe CERISIER" userId="243b6f8e-f1ab-49a6-91db-d0e885322b27" providerId="ADAL" clId="{B5897DA3-1260-4362-A2B6-674830C0E4B3}" dt="2020-11-27T13:02:48.637" v="3030" actId="478"/>
          <ac:graphicFrameMkLst>
            <pc:docMk/>
            <pc:sldMk cId="2638971286" sldId="547"/>
            <ac:graphicFrameMk id="10" creationId="{499E08A0-B448-4630-8D05-26F8F59ED755}"/>
          </ac:graphicFrameMkLst>
        </pc:graphicFrameChg>
        <pc:graphicFrameChg chg="add mod modGraphic">
          <ac:chgData name="Philippe CERISIER" userId="243b6f8e-f1ab-49a6-91db-d0e885322b27" providerId="ADAL" clId="{B5897DA3-1260-4362-A2B6-674830C0E4B3}" dt="2020-11-27T13:14:47.361" v="3143" actId="113"/>
          <ac:graphicFrameMkLst>
            <pc:docMk/>
            <pc:sldMk cId="2638971286" sldId="547"/>
            <ac:graphicFrameMk id="11" creationId="{63669566-1381-4DF6-A360-10B8B952CAD6}"/>
          </ac:graphicFrameMkLst>
        </pc:graphicFrameChg>
      </pc:sldChg>
      <pc:sldChg chg="addSp delSp modSp add">
        <pc:chgData name="Philippe CERISIER" userId="243b6f8e-f1ab-49a6-91db-d0e885322b27" providerId="ADAL" clId="{B5897DA3-1260-4362-A2B6-674830C0E4B3}" dt="2020-11-27T13:23:47.525" v="3209" actId="207"/>
        <pc:sldMkLst>
          <pc:docMk/>
          <pc:sldMk cId="3913233545" sldId="548"/>
        </pc:sldMkLst>
        <pc:spChg chg="mod">
          <ac:chgData name="Philippe CERISIER" userId="243b6f8e-f1ab-49a6-91db-d0e885322b27" providerId="ADAL" clId="{B5897DA3-1260-4362-A2B6-674830C0E4B3}" dt="2020-11-27T13:17:49.798" v="3168" actId="20577"/>
          <ac:spMkLst>
            <pc:docMk/>
            <pc:sldMk cId="3913233545" sldId="548"/>
            <ac:spMk id="3" creationId="{AE15D898-A553-4326-8A98-0BFD9DA58E91}"/>
          </ac:spMkLst>
        </pc:spChg>
        <pc:graphicFrameChg chg="del">
          <ac:chgData name="Philippe CERISIER" userId="243b6f8e-f1ab-49a6-91db-d0e885322b27" providerId="ADAL" clId="{B5897DA3-1260-4362-A2B6-674830C0E4B3}" dt="2020-11-27T13:15:43.428" v="3149" actId="478"/>
          <ac:graphicFrameMkLst>
            <pc:docMk/>
            <pc:sldMk cId="3913233545" sldId="548"/>
            <ac:graphicFrameMk id="2" creationId="{0A77ECF3-E320-43BB-9B7D-BFDBEDD4DA7A}"/>
          </ac:graphicFrameMkLst>
        </pc:graphicFrameChg>
        <pc:graphicFrameChg chg="add mod modGraphic">
          <ac:chgData name="Philippe CERISIER" userId="243b6f8e-f1ab-49a6-91db-d0e885322b27" providerId="ADAL" clId="{B5897DA3-1260-4362-A2B6-674830C0E4B3}" dt="2020-11-27T13:23:47.525" v="3209" actId="207"/>
          <ac:graphicFrameMkLst>
            <pc:docMk/>
            <pc:sldMk cId="3913233545" sldId="548"/>
            <ac:graphicFrameMk id="7" creationId="{975916EC-4301-49A8-AE0B-49DD2F6D2284}"/>
          </ac:graphicFrameMkLst>
        </pc:graphicFrameChg>
        <pc:graphicFrameChg chg="del">
          <ac:chgData name="Philippe CERISIER" userId="243b6f8e-f1ab-49a6-91db-d0e885322b27" providerId="ADAL" clId="{B5897DA3-1260-4362-A2B6-674830C0E4B3}" dt="2020-11-27T13:15:49.577" v="3150" actId="478"/>
          <ac:graphicFrameMkLst>
            <pc:docMk/>
            <pc:sldMk cId="3913233545" sldId="548"/>
            <ac:graphicFrameMk id="11" creationId="{63669566-1381-4DF6-A360-10B8B952CAD6}"/>
          </ac:graphicFrameMkLst>
        </pc:graphicFrameChg>
      </pc:sldChg>
      <pc:sldChg chg="modSp add">
        <pc:chgData name="Philippe CERISIER" userId="243b6f8e-f1ab-49a6-91db-d0e885322b27" providerId="ADAL" clId="{B5897DA3-1260-4362-A2B6-674830C0E4B3}" dt="2020-11-27T13:25:22.481" v="3228" actId="1076"/>
        <pc:sldMkLst>
          <pc:docMk/>
          <pc:sldMk cId="2860736141" sldId="549"/>
        </pc:sldMkLst>
        <pc:spChg chg="mod">
          <ac:chgData name="Philippe CERISIER" userId="243b6f8e-f1ab-49a6-91db-d0e885322b27" providerId="ADAL" clId="{B5897DA3-1260-4362-A2B6-674830C0E4B3}" dt="2020-11-27T13:25:22.481" v="3228" actId="1076"/>
          <ac:spMkLst>
            <pc:docMk/>
            <pc:sldMk cId="2860736141" sldId="549"/>
            <ac:spMk id="5" creationId="{00000000-0000-0000-0000-000000000000}"/>
          </ac:spMkLst>
        </pc:spChg>
      </pc:sldChg>
      <pc:sldChg chg="addSp delSp modSp add">
        <pc:chgData name="Philippe CERISIER" userId="243b6f8e-f1ab-49a6-91db-d0e885322b27" providerId="ADAL" clId="{B5897DA3-1260-4362-A2B6-674830C0E4B3}" dt="2020-11-27T13:25:55.207" v="3234" actId="478"/>
        <pc:sldMkLst>
          <pc:docMk/>
          <pc:sldMk cId="1596491636" sldId="550"/>
        </pc:sldMkLst>
        <pc:spChg chg="del">
          <ac:chgData name="Philippe CERISIER" userId="243b6f8e-f1ab-49a6-91db-d0e885322b27" providerId="ADAL" clId="{B5897DA3-1260-4362-A2B6-674830C0E4B3}" dt="2020-11-27T13:25:55.207" v="3234" actId="478"/>
          <ac:spMkLst>
            <pc:docMk/>
            <pc:sldMk cId="1596491636" sldId="550"/>
            <ac:spMk id="5" creationId="{00000000-0000-0000-0000-000000000000}"/>
          </ac:spMkLst>
        </pc:spChg>
        <pc:spChg chg="add mod">
          <ac:chgData name="Philippe CERISIER" userId="243b6f8e-f1ab-49a6-91db-d0e885322b27" providerId="ADAL" clId="{B5897DA3-1260-4362-A2B6-674830C0E4B3}" dt="2020-11-27T13:25:52.937" v="3233" actId="1076"/>
          <ac:spMkLst>
            <pc:docMk/>
            <pc:sldMk cId="1596491636" sldId="550"/>
            <ac:spMk id="8" creationId="{002BD31F-8D9D-4AD6-A53E-741079BC560E}"/>
          </ac:spMkLst>
        </pc:spChg>
      </pc:sldChg>
      <pc:sldChg chg="modSp add">
        <pc:chgData name="Philippe CERISIER" userId="243b6f8e-f1ab-49a6-91db-d0e885322b27" providerId="ADAL" clId="{B5897DA3-1260-4362-A2B6-674830C0E4B3}" dt="2020-11-27T14:04:46.699" v="3628" actId="1076"/>
        <pc:sldMkLst>
          <pc:docMk/>
          <pc:sldMk cId="4027972903" sldId="551"/>
        </pc:sldMkLst>
        <pc:spChg chg="mod">
          <ac:chgData name="Philippe CERISIER" userId="243b6f8e-f1ab-49a6-91db-d0e885322b27" providerId="ADAL" clId="{B5897DA3-1260-4362-A2B6-674830C0E4B3}" dt="2020-11-27T14:04:46.699" v="3628" actId="1076"/>
          <ac:spMkLst>
            <pc:docMk/>
            <pc:sldMk cId="4027972903" sldId="551"/>
            <ac:spMk id="8" creationId="{002BD31F-8D9D-4AD6-A53E-741079BC560E}"/>
          </ac:spMkLst>
        </pc:spChg>
      </pc:sldChg>
      <pc:sldChg chg="addSp delSp modSp add">
        <pc:chgData name="Philippe CERISIER" userId="243b6f8e-f1ab-49a6-91db-d0e885322b27" providerId="ADAL" clId="{B5897DA3-1260-4362-A2B6-674830C0E4B3}" dt="2020-11-27T14:03:33.356" v="3614" actId="207"/>
        <pc:sldMkLst>
          <pc:docMk/>
          <pc:sldMk cId="1671139597" sldId="552"/>
        </pc:sldMkLst>
        <pc:spChg chg="mod">
          <ac:chgData name="Philippe CERISIER" userId="243b6f8e-f1ab-49a6-91db-d0e885322b27" providerId="ADAL" clId="{B5897DA3-1260-4362-A2B6-674830C0E4B3}" dt="2020-11-27T14:03:33.356" v="3614" actId="207"/>
          <ac:spMkLst>
            <pc:docMk/>
            <pc:sldMk cId="1671139597" sldId="552"/>
            <ac:spMk id="3" creationId="{00000000-0000-0000-0000-000000000000}"/>
          </ac:spMkLst>
        </pc:spChg>
        <pc:graphicFrameChg chg="del">
          <ac:chgData name="Philippe CERISIER" userId="243b6f8e-f1ab-49a6-91db-d0e885322b27" providerId="ADAL" clId="{B5897DA3-1260-4362-A2B6-674830C0E4B3}" dt="2020-11-27T13:50:40.869" v="3580" actId="478"/>
          <ac:graphicFrameMkLst>
            <pc:docMk/>
            <pc:sldMk cId="1671139597" sldId="552"/>
            <ac:graphicFrameMk id="2" creationId="{6585B0E3-C85E-4CCD-80D6-092C72C3E73F}"/>
          </ac:graphicFrameMkLst>
        </pc:graphicFrameChg>
        <pc:graphicFrameChg chg="del">
          <ac:chgData name="Philippe CERISIER" userId="243b6f8e-f1ab-49a6-91db-d0e885322b27" providerId="ADAL" clId="{B5897DA3-1260-4362-A2B6-674830C0E4B3}" dt="2020-11-27T13:50:44.527" v="3581" actId="478"/>
          <ac:graphicFrameMkLst>
            <pc:docMk/>
            <pc:sldMk cId="1671139597" sldId="552"/>
            <ac:graphicFrameMk id="7" creationId="{81240B96-6C8E-4EE5-AA9F-E993F9CA42F5}"/>
          </ac:graphicFrameMkLst>
        </pc:graphicFrameChg>
        <pc:graphicFrameChg chg="add mod modGraphic">
          <ac:chgData name="Philippe CERISIER" userId="243b6f8e-f1ab-49a6-91db-d0e885322b27" providerId="ADAL" clId="{B5897DA3-1260-4362-A2B6-674830C0E4B3}" dt="2020-11-27T14:03:02.187" v="3608" actId="1076"/>
          <ac:graphicFrameMkLst>
            <pc:docMk/>
            <pc:sldMk cId="1671139597" sldId="552"/>
            <ac:graphicFrameMk id="8" creationId="{6833BE60-C2A5-418B-A6C7-1C8A5583A7D8}"/>
          </ac:graphicFrameMkLst>
        </pc:graphicFrameChg>
      </pc:sldChg>
      <pc:sldChg chg="modSp add">
        <pc:chgData name="Philippe CERISIER" userId="243b6f8e-f1ab-49a6-91db-d0e885322b27" providerId="ADAL" clId="{B5897DA3-1260-4362-A2B6-674830C0E4B3}" dt="2020-11-27T14:05:06.109" v="3630" actId="1076"/>
        <pc:sldMkLst>
          <pc:docMk/>
          <pc:sldMk cId="2881301536" sldId="553"/>
        </pc:sldMkLst>
        <pc:spChg chg="mod">
          <ac:chgData name="Philippe CERISIER" userId="243b6f8e-f1ab-49a6-91db-d0e885322b27" providerId="ADAL" clId="{B5897DA3-1260-4362-A2B6-674830C0E4B3}" dt="2020-11-27T14:05:06.109" v="3630" actId="1076"/>
          <ac:spMkLst>
            <pc:docMk/>
            <pc:sldMk cId="2881301536" sldId="553"/>
            <ac:spMk id="8" creationId="{002BD31F-8D9D-4AD6-A53E-741079BC560E}"/>
          </ac:spMkLst>
        </pc:spChg>
      </pc:sldChg>
    </pc:docChg>
  </pc:docChgLst>
  <pc:docChgLst>
    <pc:chgData name="Philippe CERISIER" userId="243b6f8e-f1ab-49a6-91db-d0e885322b27" providerId="ADAL" clId="{19A5DDBE-934D-4B58-9FC0-5D93ADDCAED2}"/>
    <pc:docChg chg="undo custSel modSld modNotesMaster modHandout">
      <pc:chgData name="Philippe CERISIER" userId="243b6f8e-f1ab-49a6-91db-d0e885322b27" providerId="ADAL" clId="{19A5DDBE-934D-4B58-9FC0-5D93ADDCAED2}" dt="2020-11-28T13:10:59.377" v="390"/>
      <pc:docMkLst>
        <pc:docMk/>
      </pc:docMkLst>
      <pc:sldChg chg="modSp">
        <pc:chgData name="Philippe CERISIER" userId="243b6f8e-f1ab-49a6-91db-d0e885322b27" providerId="ADAL" clId="{19A5DDBE-934D-4B58-9FC0-5D93ADDCAED2}" dt="2020-11-27T16:20:25.844" v="185" actId="20577"/>
        <pc:sldMkLst>
          <pc:docMk/>
          <pc:sldMk cId="3696005702" sldId="296"/>
        </pc:sldMkLst>
        <pc:spChg chg="mod">
          <ac:chgData name="Philippe CERISIER" userId="243b6f8e-f1ab-49a6-91db-d0e885322b27" providerId="ADAL" clId="{19A5DDBE-934D-4B58-9FC0-5D93ADDCAED2}" dt="2020-11-27T16:20:25.844" v="185" actId="20577"/>
          <ac:spMkLst>
            <pc:docMk/>
            <pc:sldMk cId="3696005702" sldId="296"/>
            <ac:spMk id="10243" creationId="{00000000-0000-0000-0000-000000000000}"/>
          </ac:spMkLst>
        </pc:spChg>
      </pc:sldChg>
      <pc:sldChg chg="modSp">
        <pc:chgData name="Philippe CERISIER" userId="243b6f8e-f1ab-49a6-91db-d0e885322b27" providerId="ADAL" clId="{19A5DDBE-934D-4B58-9FC0-5D93ADDCAED2}" dt="2020-11-28T13:10:41.064" v="389" actId="207"/>
        <pc:sldMkLst>
          <pc:docMk/>
          <pc:sldMk cId="0" sldId="489"/>
        </pc:sldMkLst>
        <pc:graphicFrameChg chg="mod modGraphic">
          <ac:chgData name="Philippe CERISIER" userId="243b6f8e-f1ab-49a6-91db-d0e885322b27" providerId="ADAL" clId="{19A5DDBE-934D-4B58-9FC0-5D93ADDCAED2}" dt="2020-11-28T13:10:41.064" v="389" actId="207"/>
          <ac:graphicFrameMkLst>
            <pc:docMk/>
            <pc:sldMk cId="0" sldId="489"/>
            <ac:graphicFrameMk id="2" creationId="{72A53D3B-B136-4511-9843-CEF837A9587E}"/>
          </ac:graphicFrameMkLst>
        </pc:graphicFrameChg>
      </pc:sldChg>
      <pc:sldChg chg="addSp modSp">
        <pc:chgData name="Philippe CERISIER" userId="243b6f8e-f1ab-49a6-91db-d0e885322b27" providerId="ADAL" clId="{19A5DDBE-934D-4B58-9FC0-5D93ADDCAED2}" dt="2020-11-27T16:28:49.446" v="312" actId="14100"/>
        <pc:sldMkLst>
          <pc:docMk/>
          <pc:sldMk cId="686609428" sldId="526"/>
        </pc:sldMkLst>
        <pc:spChg chg="add mod">
          <ac:chgData name="Philippe CERISIER" userId="243b6f8e-f1ab-49a6-91db-d0e885322b27" providerId="ADAL" clId="{19A5DDBE-934D-4B58-9FC0-5D93ADDCAED2}" dt="2020-11-27T16:28:49.446" v="312" actId="14100"/>
          <ac:spMkLst>
            <pc:docMk/>
            <pc:sldMk cId="686609428" sldId="526"/>
            <ac:spMk id="2" creationId="{10B4D5F5-927B-4202-85BE-7E809E3BF597}"/>
          </ac:spMkLst>
        </pc:spChg>
      </pc:sldChg>
      <pc:sldChg chg="addSp delSp modSp">
        <pc:chgData name="Philippe CERISIER" userId="243b6f8e-f1ab-49a6-91db-d0e885322b27" providerId="ADAL" clId="{19A5DDBE-934D-4B58-9FC0-5D93ADDCAED2}" dt="2020-11-27T16:35:19.807" v="369" actId="1076"/>
        <pc:sldMkLst>
          <pc:docMk/>
          <pc:sldMk cId="4034994452" sldId="545"/>
        </pc:sldMkLst>
        <pc:spChg chg="mod">
          <ac:chgData name="Philippe CERISIER" userId="243b6f8e-f1ab-49a6-91db-d0e885322b27" providerId="ADAL" clId="{19A5DDBE-934D-4B58-9FC0-5D93ADDCAED2}" dt="2020-11-27T16:31:29.481" v="359" actId="6549"/>
          <ac:spMkLst>
            <pc:docMk/>
            <pc:sldMk cId="4034994452" sldId="545"/>
            <ac:spMk id="2" creationId="{29461E96-BF5A-4775-931A-354310BD04D6}"/>
          </ac:spMkLst>
        </pc:spChg>
        <pc:spChg chg="mod">
          <ac:chgData name="Philippe CERISIER" userId="243b6f8e-f1ab-49a6-91db-d0e885322b27" providerId="ADAL" clId="{19A5DDBE-934D-4B58-9FC0-5D93ADDCAED2}" dt="2020-11-27T14:29:28.328" v="0" actId="6549"/>
          <ac:spMkLst>
            <pc:docMk/>
            <pc:sldMk cId="4034994452" sldId="545"/>
            <ac:spMk id="3" creationId="{55EA5085-90E0-4FEA-8A11-9733AC2CAFB1}"/>
          </ac:spMkLst>
        </pc:spChg>
        <pc:picChg chg="mod">
          <ac:chgData name="Philippe CERISIER" userId="243b6f8e-f1ab-49a6-91db-d0e885322b27" providerId="ADAL" clId="{19A5DDBE-934D-4B58-9FC0-5D93ADDCAED2}" dt="2020-11-27T14:30:48.441" v="155" actId="1076"/>
          <ac:picMkLst>
            <pc:docMk/>
            <pc:sldMk cId="4034994452" sldId="545"/>
            <ac:picMk id="7" creationId="{B274F436-9D79-4A1D-818E-9F8FC8865E5C}"/>
          </ac:picMkLst>
        </pc:picChg>
        <pc:picChg chg="mod">
          <ac:chgData name="Philippe CERISIER" userId="243b6f8e-f1ab-49a6-91db-d0e885322b27" providerId="ADAL" clId="{19A5DDBE-934D-4B58-9FC0-5D93ADDCAED2}" dt="2020-11-27T14:30:50.989" v="156" actId="1076"/>
          <ac:picMkLst>
            <pc:docMk/>
            <pc:sldMk cId="4034994452" sldId="545"/>
            <ac:picMk id="8" creationId="{E15476F8-936C-438E-A704-D23D01EAFA4E}"/>
          </ac:picMkLst>
        </pc:picChg>
        <pc:picChg chg="mod">
          <ac:chgData name="Philippe CERISIER" userId="243b6f8e-f1ab-49a6-91db-d0e885322b27" providerId="ADAL" clId="{19A5DDBE-934D-4B58-9FC0-5D93ADDCAED2}" dt="2020-11-27T16:31:34.815" v="360" actId="1076"/>
          <ac:picMkLst>
            <pc:docMk/>
            <pc:sldMk cId="4034994452" sldId="545"/>
            <ac:picMk id="9" creationId="{8B6BF747-C7F9-49C5-B950-20C39D353CD9}"/>
          </ac:picMkLst>
        </pc:picChg>
        <pc:picChg chg="add del mod">
          <ac:chgData name="Philippe CERISIER" userId="243b6f8e-f1ab-49a6-91db-d0e885322b27" providerId="ADAL" clId="{19A5DDBE-934D-4B58-9FC0-5D93ADDCAED2}" dt="2020-11-27T16:34:58.137" v="364" actId="478"/>
          <ac:picMkLst>
            <pc:docMk/>
            <pc:sldMk cId="4034994452" sldId="545"/>
            <ac:picMk id="11" creationId="{37F687E8-A2EF-4230-B8C4-08BCD04C5640}"/>
          </ac:picMkLst>
        </pc:picChg>
        <pc:picChg chg="add mod">
          <ac:chgData name="Philippe CERISIER" userId="243b6f8e-f1ab-49a6-91db-d0e885322b27" providerId="ADAL" clId="{19A5DDBE-934D-4B58-9FC0-5D93ADDCAED2}" dt="2020-11-27T16:35:19.807" v="369" actId="1076"/>
          <ac:picMkLst>
            <pc:docMk/>
            <pc:sldMk cId="4034994452" sldId="545"/>
            <ac:picMk id="13" creationId="{079F5F3A-111F-4E16-8394-A74343FBBF62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Evolution des Adhér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3868407279127037"/>
          <c:y val="0.17754153512433096"/>
          <c:w val="0.83483348381755895"/>
          <c:h val="0.6575206231424007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admin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9</c:f>
              <c:strCache>
                <c:ptCount val="5"/>
                <c:pt idx="0">
                  <c:v>2016-2017</c:v>
                </c:pt>
                <c:pt idx="1">
                  <c:v>2017-2018</c:v>
                </c:pt>
                <c:pt idx="2">
                  <c:v>2018-2019</c:v>
                </c:pt>
                <c:pt idx="3">
                  <c:v>2019-2020</c:v>
                </c:pt>
                <c:pt idx="4">
                  <c:v>2020-2021</c:v>
                </c:pt>
              </c:strCache>
            </c:strRef>
          </c:cat>
          <c:val>
            <c:numRef>
              <c:f>Feuil1!$B$2:$B$9</c:f>
              <c:numCache>
                <c:formatCode>General</c:formatCode>
                <c:ptCount val="5"/>
                <c:pt idx="0">
                  <c:v>252</c:v>
                </c:pt>
                <c:pt idx="1">
                  <c:v>217</c:v>
                </c:pt>
                <c:pt idx="2">
                  <c:v>215</c:v>
                </c:pt>
                <c:pt idx="3">
                  <c:v>218</c:v>
                </c:pt>
                <c:pt idx="4">
                  <c:v>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CE-4AD1-A66A-F0FCE27B3782}"/>
            </c:ext>
          </c:extLst>
        </c:ser>
        <c:ser>
          <c:idx val="1"/>
          <c:order val="1"/>
          <c:tx>
            <c:v>Gymnastique masculine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9</c:f>
              <c:strCache>
                <c:ptCount val="5"/>
                <c:pt idx="0">
                  <c:v>2016-2017</c:v>
                </c:pt>
                <c:pt idx="1">
                  <c:v>2017-2018</c:v>
                </c:pt>
                <c:pt idx="2">
                  <c:v>2018-2019</c:v>
                </c:pt>
                <c:pt idx="3">
                  <c:v>2019-2020</c:v>
                </c:pt>
                <c:pt idx="4">
                  <c:v>2020-2021</c:v>
                </c:pt>
              </c:strCache>
            </c:strRef>
          </c:cat>
          <c:val>
            <c:numRef>
              <c:f>Feuil1!$C$2:$C$9</c:f>
              <c:numCache>
                <c:formatCode>General</c:formatCode>
                <c:ptCount val="5"/>
                <c:pt idx="0">
                  <c:v>47</c:v>
                </c:pt>
                <c:pt idx="1">
                  <c:v>80</c:v>
                </c:pt>
                <c:pt idx="2">
                  <c:v>85</c:v>
                </c:pt>
                <c:pt idx="3">
                  <c:v>44</c:v>
                </c:pt>
                <c:pt idx="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CE-4AD1-A66A-F0FCE27B37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316200416"/>
        <c:axId val="316201248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Feuil1!$D$1</c15:sqref>
                        </c15:formulaRef>
                      </c:ext>
                    </c:extLst>
                    <c:strCache>
                      <c:ptCount val="1"/>
                      <c:pt idx="0">
                        <c:v>Trampoline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Feuil1!$A$2:$A$9</c15:sqref>
                        </c15:formulaRef>
                      </c:ext>
                    </c:extLst>
                    <c:strCache>
                      <c:ptCount val="5"/>
                      <c:pt idx="0">
                        <c:v>2016-2017</c:v>
                      </c:pt>
                      <c:pt idx="1">
                        <c:v>2017-2018</c:v>
                      </c:pt>
                      <c:pt idx="2">
                        <c:v>2018-2019</c:v>
                      </c:pt>
                      <c:pt idx="3">
                        <c:v>2019-2020</c:v>
                      </c:pt>
                      <c:pt idx="4">
                        <c:v>2020-2021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1!$D$2:$D$9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8FCE-4AD1-A66A-F0FCE27B3782}"/>
                  </c:ext>
                </c:extLst>
              </c15:ser>
            </c15:filteredBarSeries>
          </c:ext>
        </c:extLst>
      </c:barChart>
      <c:catAx>
        <c:axId val="3162004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16201248"/>
        <c:crosses val="autoZero"/>
        <c:auto val="1"/>
        <c:lblAlgn val="ctr"/>
        <c:lblOffset val="100"/>
        <c:noMultiLvlLbl val="0"/>
      </c:catAx>
      <c:valAx>
        <c:axId val="31620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62004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6845254431236121"/>
          <c:y val="9.0107145120531765E-2"/>
          <c:w val="0.42834606402545394"/>
          <c:h val="4.50017125072595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19-2020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0-2021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CDBAD342-69C5-4EB7-8DC1-C435101C223D}">
      <dgm:prSet phldrT="[Texte]" custT="1"/>
      <dgm:spPr/>
      <dgm:t>
        <a:bodyPr/>
        <a:lstStyle/>
        <a:p>
          <a:r>
            <a:rPr lang="fr-FR" sz="2000" dirty="0"/>
            <a:t>Point sur la situation sanitaire actuelle </a:t>
          </a:r>
        </a:p>
      </dgm:t>
    </dgm:pt>
    <dgm:pt modelId="{2A95C333-A401-4FE4-93B6-8A091C4B2C24}" type="parTrans" cxnId="{A3C563DF-F3FD-4D95-9A53-D91BB5FA6264}">
      <dgm:prSet/>
      <dgm:spPr/>
      <dgm:t>
        <a:bodyPr/>
        <a:lstStyle/>
        <a:p>
          <a:endParaRPr lang="fr-FR"/>
        </a:p>
      </dgm:t>
    </dgm:pt>
    <dgm:pt modelId="{4579CE07-19BD-470D-9C30-0F31309F901C}" type="sibTrans" cxnId="{A3C563DF-F3FD-4D95-9A53-D91BB5FA626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6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6"/>
      <dgm:spPr/>
    </dgm:pt>
    <dgm:pt modelId="{4485BF69-EF87-4AEE-AFDF-DE2F8D2ACCD9}" type="pres">
      <dgm:prSet presAssocID="{F010CF21-4A6D-44EF-A02C-3D5169816247}" presName="dstNode" presStyleLbl="node1" presStyleIdx="0" presStyleCnt="6"/>
      <dgm:spPr/>
    </dgm:pt>
    <dgm:pt modelId="{54C74578-773C-4297-A4DE-1398F67BB91C}" type="pres">
      <dgm:prSet presAssocID="{59788018-3182-43A3-8988-94BE0745A02A}" presName="text_1" presStyleLbl="node1" presStyleIdx="0" presStyleCnt="6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6"/>
      <dgm:spPr/>
    </dgm:pt>
    <dgm:pt modelId="{FC0295C0-CE64-47B5-998E-77C448499C98}" type="pres">
      <dgm:prSet presAssocID="{CDBAD342-69C5-4EB7-8DC1-C435101C223D}" presName="text_2" presStyleLbl="node1" presStyleIdx="1" presStyleCnt="6">
        <dgm:presLayoutVars>
          <dgm:bulletEnabled val="1"/>
        </dgm:presLayoutVars>
      </dgm:prSet>
      <dgm:spPr/>
    </dgm:pt>
    <dgm:pt modelId="{08DEAB1D-53C4-4A2A-BA96-15CA12239B72}" type="pres">
      <dgm:prSet presAssocID="{CDBAD342-69C5-4EB7-8DC1-C435101C223D}" presName="accent_2" presStyleCnt="0"/>
      <dgm:spPr/>
    </dgm:pt>
    <dgm:pt modelId="{B866E7F9-E5E7-484B-AB61-13B12708D460}" type="pres">
      <dgm:prSet presAssocID="{CDBAD342-69C5-4EB7-8DC1-C435101C223D}" presName="accentRepeatNode" presStyleLbl="solidFgAcc1" presStyleIdx="1" presStyleCnt="6"/>
      <dgm:spPr/>
    </dgm:pt>
    <dgm:pt modelId="{2A5CEEB8-6E5B-483B-B9F8-75ED22884F54}" type="pres">
      <dgm:prSet presAssocID="{B9A48CF8-D428-45D1-8969-FBBF15BE7DBA}" presName="text_3" presStyleLbl="node1" presStyleIdx="2" presStyleCnt="6">
        <dgm:presLayoutVars>
          <dgm:bulletEnabled val="1"/>
        </dgm:presLayoutVars>
      </dgm:prSet>
      <dgm:spPr/>
    </dgm:pt>
    <dgm:pt modelId="{84CA3009-D7FB-4254-8CD8-894C008D9E34}" type="pres">
      <dgm:prSet presAssocID="{B9A48CF8-D428-45D1-8969-FBBF15BE7DBA}" presName="accent_3" presStyleCnt="0"/>
      <dgm:spPr/>
    </dgm:pt>
    <dgm:pt modelId="{7A113706-4115-4E46-A0DB-BB2E4C947383}" type="pres">
      <dgm:prSet presAssocID="{B9A48CF8-D428-45D1-8969-FBBF15BE7DBA}" presName="accentRepeatNode" presStyleLbl="solidFgAcc1" presStyleIdx="2" presStyleCnt="6"/>
      <dgm:spPr/>
    </dgm:pt>
    <dgm:pt modelId="{90AFB06F-5233-4B87-9F90-CF49EC1E6031}" type="pres">
      <dgm:prSet presAssocID="{2950704D-F612-46DF-93DB-38562274CE0A}" presName="text_4" presStyleLbl="node1" presStyleIdx="3" presStyleCnt="6">
        <dgm:presLayoutVars>
          <dgm:bulletEnabled val="1"/>
        </dgm:presLayoutVars>
      </dgm:prSet>
      <dgm:spPr/>
    </dgm:pt>
    <dgm:pt modelId="{2FA75C2A-ED5B-4FF6-AC11-C64CBCCC3080}" type="pres">
      <dgm:prSet presAssocID="{2950704D-F612-46DF-93DB-38562274CE0A}" presName="accent_4" presStyleCnt="0"/>
      <dgm:spPr/>
    </dgm:pt>
    <dgm:pt modelId="{0692BF8D-B063-4580-8A2D-225A14481CCD}" type="pres">
      <dgm:prSet presAssocID="{2950704D-F612-46DF-93DB-38562274CE0A}" presName="accentRepeatNode" presStyleLbl="solidFgAcc1" presStyleIdx="3" presStyleCnt="6"/>
      <dgm:spPr/>
    </dgm:pt>
    <dgm:pt modelId="{40E805B5-61E0-496D-8348-916A9D159C92}" type="pres">
      <dgm:prSet presAssocID="{445F633E-575C-4AF5-92DD-A71CC7C927A2}" presName="text_5" presStyleLbl="node1" presStyleIdx="4" presStyleCnt="6">
        <dgm:presLayoutVars>
          <dgm:bulletEnabled val="1"/>
        </dgm:presLayoutVars>
      </dgm:prSet>
      <dgm:spPr/>
    </dgm:pt>
    <dgm:pt modelId="{C2C7E345-B783-4EDD-A02C-9F73D6F20217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6"/>
      <dgm:spPr/>
    </dgm:pt>
    <dgm:pt modelId="{3AF69084-E551-402E-95FC-95D83736201C}" type="pres">
      <dgm:prSet presAssocID="{414797EB-74B4-4291-AF3E-06BCA64CF6B6}" presName="text_6" presStyleLbl="node1" presStyleIdx="5" presStyleCnt="6">
        <dgm:presLayoutVars>
          <dgm:bulletEnabled val="1"/>
        </dgm:presLayoutVars>
      </dgm:prSet>
      <dgm:spPr/>
    </dgm:pt>
    <dgm:pt modelId="{F5EF7981-6B08-414D-9727-90B3DCD7F7EA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6"/>
      <dgm:spPr/>
    </dgm:pt>
  </dgm:ptLst>
  <dgm:cxnLst>
    <dgm:cxn modelId="{526ECF28-3CAD-4D93-A271-BA130FC38A40}" srcId="{F010CF21-4A6D-44EF-A02C-3D5169816247}" destId="{B9A48CF8-D428-45D1-8969-FBBF15BE7DBA}" srcOrd="2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7F21A771-B949-4BB4-9FF5-57A450042B3B}" type="presOf" srcId="{414797EB-74B4-4291-AF3E-06BCA64CF6B6}" destId="{3AF69084-E551-402E-95FC-95D83736201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82A827A8-E41C-4524-BA29-EDCADC2E46D9}" type="presOf" srcId="{2950704D-F612-46DF-93DB-38562274CE0A}" destId="{90AFB06F-5233-4B87-9F90-CF49EC1E6031}" srcOrd="0" destOrd="0" presId="urn:microsoft.com/office/officeart/2008/layout/VerticalCurvedList"/>
    <dgm:cxn modelId="{E62432B3-0548-45BE-B135-34FBDCB7F78B}" type="presOf" srcId="{445F633E-575C-4AF5-92DD-A71CC7C927A2}" destId="{40E805B5-61E0-496D-8348-916A9D159C92}" srcOrd="0" destOrd="0" presId="urn:microsoft.com/office/officeart/2008/layout/VerticalCurvedList"/>
    <dgm:cxn modelId="{A3F6F9CC-A017-4180-9E88-CDD61E653699}" type="presOf" srcId="{CDBAD342-69C5-4EB7-8DC1-C435101C223D}" destId="{FC0295C0-CE64-47B5-998E-77C448499C98}" srcOrd="0" destOrd="0" presId="urn:microsoft.com/office/officeart/2008/layout/VerticalCurvedList"/>
    <dgm:cxn modelId="{75BC15D3-E58B-4B5A-AEB7-3CE02EFD8705}" srcId="{F010CF21-4A6D-44EF-A02C-3D5169816247}" destId="{2950704D-F612-46DF-93DB-38562274CE0A}" srcOrd="3" destOrd="0" parTransId="{987F1677-1426-4E16-870E-56D0BC663F9B}" sibTransId="{83820126-CD9B-4B36-913F-47587C72FAFD}"/>
    <dgm:cxn modelId="{A3C563DF-F3FD-4D95-9A53-D91BB5FA6264}" srcId="{F010CF21-4A6D-44EF-A02C-3D5169816247}" destId="{CDBAD342-69C5-4EB7-8DC1-C435101C223D}" srcOrd="1" destOrd="0" parTransId="{2A95C333-A401-4FE4-93B6-8A091C4B2C24}" sibTransId="{4579CE07-19BD-470D-9C30-0F31309F901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A76C8EF8-9FF4-4596-B882-BDBDE5CB0630}" type="presOf" srcId="{B9A48CF8-D428-45D1-8969-FBBF15BE7DBA}" destId="{2A5CEEB8-6E5B-483B-B9F8-75ED22884F54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6EE4501F-DB0F-422F-9178-7ED54BC8EAEE}" type="presParOf" srcId="{43AFC4E7-46DA-4B7B-B201-0A406A05CAD2}" destId="{FC0295C0-CE64-47B5-998E-77C448499C98}" srcOrd="3" destOrd="0" presId="urn:microsoft.com/office/officeart/2008/layout/VerticalCurvedList"/>
    <dgm:cxn modelId="{BF0E5D98-C8B2-4177-8E85-825CF1F6E673}" type="presParOf" srcId="{43AFC4E7-46DA-4B7B-B201-0A406A05CAD2}" destId="{08DEAB1D-53C4-4A2A-BA96-15CA12239B72}" srcOrd="4" destOrd="0" presId="urn:microsoft.com/office/officeart/2008/layout/VerticalCurvedList"/>
    <dgm:cxn modelId="{B9909701-801A-4A6A-9ECB-8B8670497319}" type="presParOf" srcId="{08DEAB1D-53C4-4A2A-BA96-15CA12239B72}" destId="{B866E7F9-E5E7-484B-AB61-13B12708D460}" srcOrd="0" destOrd="0" presId="urn:microsoft.com/office/officeart/2008/layout/VerticalCurvedList"/>
    <dgm:cxn modelId="{71FA8266-6C10-496E-A7A9-B204C3DB586C}" type="presParOf" srcId="{43AFC4E7-46DA-4B7B-B201-0A406A05CAD2}" destId="{2A5CEEB8-6E5B-483B-B9F8-75ED22884F54}" srcOrd="5" destOrd="0" presId="urn:microsoft.com/office/officeart/2008/layout/VerticalCurvedList"/>
    <dgm:cxn modelId="{36958FC1-568D-4CA0-926F-39FA991C19F2}" type="presParOf" srcId="{43AFC4E7-46DA-4B7B-B201-0A406A05CAD2}" destId="{84CA3009-D7FB-4254-8CD8-894C008D9E34}" srcOrd="6" destOrd="0" presId="urn:microsoft.com/office/officeart/2008/layout/VerticalCurvedList"/>
    <dgm:cxn modelId="{1D5C8608-C4A3-4235-A4F1-19F4EDEEE90E}" type="presParOf" srcId="{84CA3009-D7FB-4254-8CD8-894C008D9E34}" destId="{7A113706-4115-4E46-A0DB-BB2E4C947383}" srcOrd="0" destOrd="0" presId="urn:microsoft.com/office/officeart/2008/layout/VerticalCurvedList"/>
    <dgm:cxn modelId="{80D7A1F2-83EF-4494-85CC-1C6C55ADACB5}" type="presParOf" srcId="{43AFC4E7-46DA-4B7B-B201-0A406A05CAD2}" destId="{90AFB06F-5233-4B87-9F90-CF49EC1E6031}" srcOrd="7" destOrd="0" presId="urn:microsoft.com/office/officeart/2008/layout/VerticalCurvedList"/>
    <dgm:cxn modelId="{BE0F58EC-954A-4DCA-A002-0BA9FD94D319}" type="presParOf" srcId="{43AFC4E7-46DA-4B7B-B201-0A406A05CAD2}" destId="{2FA75C2A-ED5B-4FF6-AC11-C64CBCCC3080}" srcOrd="8" destOrd="0" presId="urn:microsoft.com/office/officeart/2008/layout/VerticalCurvedList"/>
    <dgm:cxn modelId="{FF5DBD0A-CD15-4C69-B11E-ED7B82845063}" type="presParOf" srcId="{2FA75C2A-ED5B-4FF6-AC11-C64CBCCC3080}" destId="{0692BF8D-B063-4580-8A2D-225A14481CCD}" srcOrd="0" destOrd="0" presId="urn:microsoft.com/office/officeart/2008/layout/VerticalCurvedList"/>
    <dgm:cxn modelId="{05DC1C0B-BC3E-4225-96AA-E6F35DFF0D16}" type="presParOf" srcId="{43AFC4E7-46DA-4B7B-B201-0A406A05CAD2}" destId="{40E805B5-61E0-496D-8348-916A9D159C92}" srcOrd="9" destOrd="0" presId="urn:microsoft.com/office/officeart/2008/layout/VerticalCurvedList"/>
    <dgm:cxn modelId="{C0B32528-91D6-4A03-AB7E-4CDD68FC1EE6}" type="presParOf" srcId="{43AFC4E7-46DA-4B7B-B201-0A406A05CAD2}" destId="{C2C7E345-B783-4EDD-A02C-9F73D6F20217}" srcOrd="10" destOrd="0" presId="urn:microsoft.com/office/officeart/2008/layout/VerticalCurvedList"/>
    <dgm:cxn modelId="{3A7E6B34-84A7-4442-AAA9-C16A31B1048C}" type="presParOf" srcId="{C2C7E345-B783-4EDD-A02C-9F73D6F20217}" destId="{1CAC461D-769E-43F1-85D8-A86E37EE9368}" srcOrd="0" destOrd="0" presId="urn:microsoft.com/office/officeart/2008/layout/VerticalCurvedList"/>
    <dgm:cxn modelId="{9DDDF2F1-EE99-47B0-99E2-0A7310BF3326}" type="presParOf" srcId="{43AFC4E7-46DA-4B7B-B201-0A406A05CAD2}" destId="{3AF69084-E551-402E-95FC-95D83736201C}" srcOrd="11" destOrd="0" presId="urn:microsoft.com/office/officeart/2008/layout/VerticalCurvedList"/>
    <dgm:cxn modelId="{AC345CA3-393D-4031-A75D-3FAD35A5D78D}" type="presParOf" srcId="{43AFC4E7-46DA-4B7B-B201-0A406A05CAD2}" destId="{F5EF7981-6B08-414D-9727-90B3DCD7F7EA}" srcOrd="12" destOrd="0" presId="urn:microsoft.com/office/officeart/2008/layout/VerticalCurvedList"/>
    <dgm:cxn modelId="{6023ABD4-9DE6-45A4-8C3B-D3EA8D33F04F}" type="presParOf" srcId="{F5EF7981-6B08-414D-9727-90B3DCD7F7EA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136545-A018-4502-BFC1-A01A7CCFE576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4727F3D-2989-4611-879E-968CAECAA3CF}">
      <dgm:prSet phldrT="[Texte]" custT="1"/>
      <dgm:spPr>
        <a:solidFill>
          <a:schemeClr val="accent2"/>
        </a:solidFill>
      </dgm:spPr>
      <dgm:t>
        <a:bodyPr/>
        <a:lstStyle/>
        <a:p>
          <a:r>
            <a:rPr lang="fr-FR" sz="2400" dirty="0"/>
            <a:t>Saison amputée à 50%</a:t>
          </a:r>
        </a:p>
      </dgm:t>
    </dgm:pt>
    <dgm:pt modelId="{F6DE3460-B85C-4627-B237-7AA389227AB5}" type="parTrans" cxnId="{D35446A0-1A91-4ECD-83BB-523E56E0F01F}">
      <dgm:prSet/>
      <dgm:spPr/>
      <dgm:t>
        <a:bodyPr/>
        <a:lstStyle/>
        <a:p>
          <a:endParaRPr lang="fr-FR"/>
        </a:p>
      </dgm:t>
    </dgm:pt>
    <dgm:pt modelId="{D98C9E20-2394-4D04-A914-5250DBA3C60D}" type="sibTrans" cxnId="{D35446A0-1A91-4ECD-83BB-523E56E0F01F}">
      <dgm:prSet/>
      <dgm:spPr/>
      <dgm:t>
        <a:bodyPr/>
        <a:lstStyle/>
        <a:p>
          <a:endParaRPr lang="fr-FR"/>
        </a:p>
      </dgm:t>
    </dgm:pt>
    <dgm:pt modelId="{410DC2DD-C586-4720-A427-188765EC8333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fr-FR" sz="2400" dirty="0"/>
            <a:t>Tournoi interne Bad en octobre 2019</a:t>
          </a:r>
        </a:p>
      </dgm:t>
    </dgm:pt>
    <dgm:pt modelId="{7DE0AF57-BFC1-4B93-B1BF-87FD82BF0CC3}" type="parTrans" cxnId="{8D5B1372-C75A-4D9B-AFAA-3B6050837198}">
      <dgm:prSet/>
      <dgm:spPr/>
      <dgm:t>
        <a:bodyPr/>
        <a:lstStyle/>
        <a:p>
          <a:endParaRPr lang="fr-FR"/>
        </a:p>
      </dgm:t>
    </dgm:pt>
    <dgm:pt modelId="{8CF2AE56-63F9-469E-99FF-AB54946590C5}" type="sibTrans" cxnId="{8D5B1372-C75A-4D9B-AFAA-3B6050837198}">
      <dgm:prSet/>
      <dgm:spPr/>
      <dgm:t>
        <a:bodyPr/>
        <a:lstStyle/>
        <a:p>
          <a:endParaRPr lang="fr-FR"/>
        </a:p>
      </dgm:t>
    </dgm:pt>
    <dgm:pt modelId="{3121DA9D-154A-4258-9068-BA4BC1D99480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dirty="0"/>
            <a:t>Champ. Reg Vétérans de Badminton en Déc 2019</a:t>
          </a:r>
        </a:p>
      </dgm:t>
    </dgm:pt>
    <dgm:pt modelId="{81379620-3288-420A-B810-19B5CBCC5D42}" type="parTrans" cxnId="{5AC3AED1-E8C3-4DE0-88F5-BB2A3C8AAA03}">
      <dgm:prSet/>
      <dgm:spPr/>
      <dgm:t>
        <a:bodyPr/>
        <a:lstStyle/>
        <a:p>
          <a:endParaRPr lang="fr-FR"/>
        </a:p>
      </dgm:t>
    </dgm:pt>
    <dgm:pt modelId="{6E25CA3E-907C-421D-9704-491021AF9DAB}" type="sibTrans" cxnId="{5AC3AED1-E8C3-4DE0-88F5-BB2A3C8AAA03}">
      <dgm:prSet/>
      <dgm:spPr/>
      <dgm:t>
        <a:bodyPr/>
        <a:lstStyle/>
        <a:p>
          <a:endParaRPr lang="fr-FR"/>
        </a:p>
      </dgm:t>
    </dgm:pt>
    <dgm:pt modelId="{61CA4B28-F9A1-4905-B00F-B51BF3651E0B}">
      <dgm:prSet phldrT="[Texte]" custT="1"/>
      <dgm:spPr>
        <a:solidFill>
          <a:srgbClr val="FCCBCE"/>
        </a:solidFill>
      </dgm:spPr>
      <dgm:t>
        <a:bodyPr/>
        <a:lstStyle/>
        <a:p>
          <a:r>
            <a:rPr lang="fr-FR" sz="2400" dirty="0"/>
            <a:t>Nuit Bad è Téléthon</a:t>
          </a:r>
        </a:p>
      </dgm:t>
    </dgm:pt>
    <dgm:pt modelId="{E1EE100B-9BBA-4B12-94C8-965159B811FE}" type="parTrans" cxnId="{A2532AD2-517F-4AEB-A280-998A21D04B91}">
      <dgm:prSet/>
      <dgm:spPr/>
      <dgm:t>
        <a:bodyPr/>
        <a:lstStyle/>
        <a:p>
          <a:endParaRPr lang="fr-FR"/>
        </a:p>
      </dgm:t>
    </dgm:pt>
    <dgm:pt modelId="{47BD00EA-1332-4021-AD10-95EFF9C2D0C0}" type="sibTrans" cxnId="{A2532AD2-517F-4AEB-A280-998A21D04B91}">
      <dgm:prSet/>
      <dgm:spPr/>
      <dgm:t>
        <a:bodyPr/>
        <a:lstStyle/>
        <a:p>
          <a:endParaRPr lang="fr-FR"/>
        </a:p>
      </dgm:t>
    </dgm:pt>
    <dgm:pt modelId="{563C2622-4302-479B-866A-0FB83CD54051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dirty="0"/>
            <a:t>Tournoi des Mousquetaires en Janvier 2020</a:t>
          </a:r>
        </a:p>
      </dgm:t>
    </dgm:pt>
    <dgm:pt modelId="{5F654ACE-BC86-4F55-8658-BC0640229145}" type="parTrans" cxnId="{98AA5D05-130A-4D33-94DC-8F6CCD85E4CF}">
      <dgm:prSet/>
      <dgm:spPr/>
      <dgm:t>
        <a:bodyPr/>
        <a:lstStyle/>
        <a:p>
          <a:endParaRPr lang="fr-FR"/>
        </a:p>
      </dgm:t>
    </dgm:pt>
    <dgm:pt modelId="{A5B1389C-522B-4AAC-A880-B574EB25CDFB}" type="sibTrans" cxnId="{98AA5D05-130A-4D33-94DC-8F6CCD85E4CF}">
      <dgm:prSet/>
      <dgm:spPr/>
      <dgm:t>
        <a:bodyPr/>
        <a:lstStyle/>
        <a:p>
          <a:endParaRPr lang="fr-FR"/>
        </a:p>
      </dgm:t>
    </dgm:pt>
    <dgm:pt modelId="{7EAA5A1B-70D5-4512-BECF-5403758743F5}">
      <dgm:prSet phldrT="[Texte]" custT="1"/>
      <dgm:spPr>
        <a:solidFill>
          <a:schemeClr val="accent3"/>
        </a:solidFill>
      </dgm:spPr>
      <dgm:t>
        <a:bodyPr/>
        <a:lstStyle/>
        <a:p>
          <a:r>
            <a:rPr lang="fr-FR" sz="2400" dirty="0"/>
            <a:t>Des résultats très prometteurs lors de l’arrêt en mars </a:t>
          </a:r>
        </a:p>
      </dgm:t>
    </dgm:pt>
    <dgm:pt modelId="{703985B0-E734-4C44-8804-91CEAC5119B1}" type="parTrans" cxnId="{5FFB01AC-EAC9-4155-B87C-41B97831C6DB}">
      <dgm:prSet/>
      <dgm:spPr/>
      <dgm:t>
        <a:bodyPr/>
        <a:lstStyle/>
        <a:p>
          <a:endParaRPr lang="fr-FR"/>
        </a:p>
      </dgm:t>
    </dgm:pt>
    <dgm:pt modelId="{37291213-47A8-4370-9A74-59C49FC9C091}" type="sibTrans" cxnId="{5FFB01AC-EAC9-4155-B87C-41B97831C6DB}">
      <dgm:prSet/>
      <dgm:spPr/>
      <dgm:t>
        <a:bodyPr/>
        <a:lstStyle/>
        <a:p>
          <a:endParaRPr lang="fr-FR"/>
        </a:p>
      </dgm:t>
    </dgm:pt>
    <dgm:pt modelId="{432B2630-075E-4DF4-B661-3CA6D799E9B6}">
      <dgm:prSet phldrT="[Texte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fr-FR" sz="2400" dirty="0"/>
            <a:t>…………</a:t>
          </a:r>
        </a:p>
      </dgm:t>
    </dgm:pt>
    <dgm:pt modelId="{BD355A81-452B-49D3-AD01-C155DBE0B446}" type="parTrans" cxnId="{99196B19-BF36-4BD6-956D-72B10B0F5152}">
      <dgm:prSet/>
      <dgm:spPr/>
      <dgm:t>
        <a:bodyPr/>
        <a:lstStyle/>
        <a:p>
          <a:endParaRPr lang="fr-FR"/>
        </a:p>
      </dgm:t>
    </dgm:pt>
    <dgm:pt modelId="{9EFCFF0B-6AFC-4A56-8F69-BEE614AE3BFF}" type="sibTrans" cxnId="{99196B19-BF36-4BD6-956D-72B10B0F5152}">
      <dgm:prSet/>
      <dgm:spPr/>
      <dgm:t>
        <a:bodyPr/>
        <a:lstStyle/>
        <a:p>
          <a:endParaRPr lang="fr-FR"/>
        </a:p>
      </dgm:t>
    </dgm:pt>
    <dgm:pt modelId="{9502D524-D0AA-4A49-9884-81EA8D2409D2}" type="pres">
      <dgm:prSet presAssocID="{CE136545-A018-4502-BFC1-A01A7CCFE576}" presName="Name0" presStyleCnt="0">
        <dgm:presLayoutVars>
          <dgm:dir/>
          <dgm:animLvl val="lvl"/>
          <dgm:resizeHandles val="exact"/>
        </dgm:presLayoutVars>
      </dgm:prSet>
      <dgm:spPr/>
    </dgm:pt>
    <dgm:pt modelId="{34998825-A924-443C-B119-F99889FD8713}" type="pres">
      <dgm:prSet presAssocID="{432B2630-075E-4DF4-B661-3CA6D799E9B6}" presName="boxAndChildren" presStyleCnt="0"/>
      <dgm:spPr/>
    </dgm:pt>
    <dgm:pt modelId="{AC390926-759D-492B-AB77-CF407BA74328}" type="pres">
      <dgm:prSet presAssocID="{432B2630-075E-4DF4-B661-3CA6D799E9B6}" presName="parentTextBox" presStyleLbl="node1" presStyleIdx="0" presStyleCnt="7"/>
      <dgm:spPr/>
    </dgm:pt>
    <dgm:pt modelId="{BDF4DB84-8B34-463F-A91F-3146126E9246}" type="pres">
      <dgm:prSet presAssocID="{37291213-47A8-4370-9A74-59C49FC9C091}" presName="sp" presStyleCnt="0"/>
      <dgm:spPr/>
    </dgm:pt>
    <dgm:pt modelId="{0F7DCD66-423B-47AE-8E08-EDA5D5CC2874}" type="pres">
      <dgm:prSet presAssocID="{7EAA5A1B-70D5-4512-BECF-5403758743F5}" presName="arrowAndChildren" presStyleCnt="0"/>
      <dgm:spPr/>
    </dgm:pt>
    <dgm:pt modelId="{44F915BB-13CA-4155-9369-3D188D9C8C24}" type="pres">
      <dgm:prSet presAssocID="{7EAA5A1B-70D5-4512-BECF-5403758743F5}" presName="parentTextArrow" presStyleLbl="node1" presStyleIdx="1" presStyleCnt="7"/>
      <dgm:spPr/>
    </dgm:pt>
    <dgm:pt modelId="{DFE04010-0F23-4B03-8275-B0EFE54EF560}" type="pres">
      <dgm:prSet presAssocID="{A5B1389C-522B-4AAC-A880-B574EB25CDFB}" presName="sp" presStyleCnt="0"/>
      <dgm:spPr/>
    </dgm:pt>
    <dgm:pt modelId="{D9994C93-A65B-4941-A9A1-5F1DF7E7C070}" type="pres">
      <dgm:prSet presAssocID="{563C2622-4302-479B-866A-0FB83CD54051}" presName="arrowAndChildren" presStyleCnt="0"/>
      <dgm:spPr/>
    </dgm:pt>
    <dgm:pt modelId="{037BBCA1-DA96-4D49-82E4-5BFB27FC9589}" type="pres">
      <dgm:prSet presAssocID="{563C2622-4302-479B-866A-0FB83CD54051}" presName="parentTextArrow" presStyleLbl="node1" presStyleIdx="2" presStyleCnt="7"/>
      <dgm:spPr/>
    </dgm:pt>
    <dgm:pt modelId="{2AA77212-D29A-4923-9F67-366B51CA762D}" type="pres">
      <dgm:prSet presAssocID="{47BD00EA-1332-4021-AD10-95EFF9C2D0C0}" presName="sp" presStyleCnt="0"/>
      <dgm:spPr/>
    </dgm:pt>
    <dgm:pt modelId="{DAEC0292-A158-448A-A68D-5F064F0A1525}" type="pres">
      <dgm:prSet presAssocID="{61CA4B28-F9A1-4905-B00F-B51BF3651E0B}" presName="arrowAndChildren" presStyleCnt="0"/>
      <dgm:spPr/>
    </dgm:pt>
    <dgm:pt modelId="{B9A938CB-C6E6-487E-A8BD-5FE0271E12CE}" type="pres">
      <dgm:prSet presAssocID="{61CA4B28-F9A1-4905-B00F-B51BF3651E0B}" presName="parentTextArrow" presStyleLbl="node1" presStyleIdx="3" presStyleCnt="7"/>
      <dgm:spPr/>
    </dgm:pt>
    <dgm:pt modelId="{6E85AAAD-6135-4CF6-A574-DA65ACEF5C35}" type="pres">
      <dgm:prSet presAssocID="{6E25CA3E-907C-421D-9704-491021AF9DAB}" presName="sp" presStyleCnt="0"/>
      <dgm:spPr/>
    </dgm:pt>
    <dgm:pt modelId="{5B95E37A-948C-4A52-97EF-69277D748510}" type="pres">
      <dgm:prSet presAssocID="{3121DA9D-154A-4258-9068-BA4BC1D99480}" presName="arrowAndChildren" presStyleCnt="0"/>
      <dgm:spPr/>
    </dgm:pt>
    <dgm:pt modelId="{DE9D4EB4-CAC9-4A9D-ACA5-A3AB016B88C4}" type="pres">
      <dgm:prSet presAssocID="{3121DA9D-154A-4258-9068-BA4BC1D99480}" presName="parentTextArrow" presStyleLbl="node1" presStyleIdx="4" presStyleCnt="7"/>
      <dgm:spPr/>
    </dgm:pt>
    <dgm:pt modelId="{CF0B3979-125A-4950-AE39-126619D81F68}" type="pres">
      <dgm:prSet presAssocID="{8CF2AE56-63F9-469E-99FF-AB54946590C5}" presName="sp" presStyleCnt="0"/>
      <dgm:spPr/>
    </dgm:pt>
    <dgm:pt modelId="{868E2FBC-0FA5-46E9-B3C8-CBDE595622AE}" type="pres">
      <dgm:prSet presAssocID="{410DC2DD-C586-4720-A427-188765EC8333}" presName="arrowAndChildren" presStyleCnt="0"/>
      <dgm:spPr/>
    </dgm:pt>
    <dgm:pt modelId="{04C9FAE8-795C-4A6B-A109-F1E518811555}" type="pres">
      <dgm:prSet presAssocID="{410DC2DD-C586-4720-A427-188765EC8333}" presName="parentTextArrow" presStyleLbl="node1" presStyleIdx="5" presStyleCnt="7"/>
      <dgm:spPr/>
    </dgm:pt>
    <dgm:pt modelId="{FC88AC73-5FB0-42D8-92DD-2EA9664B81B8}" type="pres">
      <dgm:prSet presAssocID="{D98C9E20-2394-4D04-A914-5250DBA3C60D}" presName="sp" presStyleCnt="0"/>
      <dgm:spPr/>
    </dgm:pt>
    <dgm:pt modelId="{BF4F7E15-6F4F-4433-A362-3177ADAE6761}" type="pres">
      <dgm:prSet presAssocID="{74727F3D-2989-4611-879E-968CAECAA3CF}" presName="arrowAndChildren" presStyleCnt="0"/>
      <dgm:spPr/>
    </dgm:pt>
    <dgm:pt modelId="{5C0CA91D-458F-4D8D-AEFC-AB497E6D417C}" type="pres">
      <dgm:prSet presAssocID="{74727F3D-2989-4611-879E-968CAECAA3CF}" presName="parentTextArrow" presStyleLbl="node1" presStyleIdx="6" presStyleCnt="7"/>
      <dgm:spPr/>
    </dgm:pt>
  </dgm:ptLst>
  <dgm:cxnLst>
    <dgm:cxn modelId="{98AA5D05-130A-4D33-94DC-8F6CCD85E4CF}" srcId="{CE136545-A018-4502-BFC1-A01A7CCFE576}" destId="{563C2622-4302-479B-866A-0FB83CD54051}" srcOrd="4" destOrd="0" parTransId="{5F654ACE-BC86-4F55-8658-BC0640229145}" sibTransId="{A5B1389C-522B-4AAC-A880-B574EB25CDFB}"/>
    <dgm:cxn modelId="{A0E7AF06-71EE-446F-871E-8AE167B75719}" type="presOf" srcId="{CE136545-A018-4502-BFC1-A01A7CCFE576}" destId="{9502D524-D0AA-4A49-9884-81EA8D2409D2}" srcOrd="0" destOrd="0" presId="urn:microsoft.com/office/officeart/2005/8/layout/process4"/>
    <dgm:cxn modelId="{99196B19-BF36-4BD6-956D-72B10B0F5152}" srcId="{CE136545-A018-4502-BFC1-A01A7CCFE576}" destId="{432B2630-075E-4DF4-B661-3CA6D799E9B6}" srcOrd="6" destOrd="0" parTransId="{BD355A81-452B-49D3-AD01-C155DBE0B446}" sibTransId="{9EFCFF0B-6AFC-4A56-8F69-BEE614AE3BFF}"/>
    <dgm:cxn modelId="{2F561967-CEBD-492F-823A-865E77324875}" type="presOf" srcId="{410DC2DD-C586-4720-A427-188765EC8333}" destId="{04C9FAE8-795C-4A6B-A109-F1E518811555}" srcOrd="0" destOrd="0" presId="urn:microsoft.com/office/officeart/2005/8/layout/process4"/>
    <dgm:cxn modelId="{8D5B1372-C75A-4D9B-AFAA-3B6050837198}" srcId="{CE136545-A018-4502-BFC1-A01A7CCFE576}" destId="{410DC2DD-C586-4720-A427-188765EC8333}" srcOrd="1" destOrd="0" parTransId="{7DE0AF57-BFC1-4B93-B1BF-87FD82BF0CC3}" sibTransId="{8CF2AE56-63F9-469E-99FF-AB54946590C5}"/>
    <dgm:cxn modelId="{B5A9C172-948C-4B32-9656-0307596FEA22}" type="presOf" srcId="{3121DA9D-154A-4258-9068-BA4BC1D99480}" destId="{DE9D4EB4-CAC9-4A9D-ACA5-A3AB016B88C4}" srcOrd="0" destOrd="0" presId="urn:microsoft.com/office/officeart/2005/8/layout/process4"/>
    <dgm:cxn modelId="{D35446A0-1A91-4ECD-83BB-523E56E0F01F}" srcId="{CE136545-A018-4502-BFC1-A01A7CCFE576}" destId="{74727F3D-2989-4611-879E-968CAECAA3CF}" srcOrd="0" destOrd="0" parTransId="{F6DE3460-B85C-4627-B237-7AA389227AB5}" sibTransId="{D98C9E20-2394-4D04-A914-5250DBA3C60D}"/>
    <dgm:cxn modelId="{29C541AA-1C74-47EB-B88D-FB838BF86F8E}" type="presOf" srcId="{563C2622-4302-479B-866A-0FB83CD54051}" destId="{037BBCA1-DA96-4D49-82E4-5BFB27FC9589}" srcOrd="0" destOrd="0" presId="urn:microsoft.com/office/officeart/2005/8/layout/process4"/>
    <dgm:cxn modelId="{265E62AA-AECF-44A0-88A4-60AAEE4D06E4}" type="presOf" srcId="{7EAA5A1B-70D5-4512-BECF-5403758743F5}" destId="{44F915BB-13CA-4155-9369-3D188D9C8C24}" srcOrd="0" destOrd="0" presId="urn:microsoft.com/office/officeart/2005/8/layout/process4"/>
    <dgm:cxn modelId="{5FFB01AC-EAC9-4155-B87C-41B97831C6DB}" srcId="{CE136545-A018-4502-BFC1-A01A7CCFE576}" destId="{7EAA5A1B-70D5-4512-BECF-5403758743F5}" srcOrd="5" destOrd="0" parTransId="{703985B0-E734-4C44-8804-91CEAC5119B1}" sibTransId="{37291213-47A8-4370-9A74-59C49FC9C091}"/>
    <dgm:cxn modelId="{790C2DBE-0B22-44FA-ADC4-CEA94F67832F}" type="presOf" srcId="{432B2630-075E-4DF4-B661-3CA6D799E9B6}" destId="{AC390926-759D-492B-AB77-CF407BA74328}" srcOrd="0" destOrd="0" presId="urn:microsoft.com/office/officeart/2005/8/layout/process4"/>
    <dgm:cxn modelId="{5AC3AED1-E8C3-4DE0-88F5-BB2A3C8AAA03}" srcId="{CE136545-A018-4502-BFC1-A01A7CCFE576}" destId="{3121DA9D-154A-4258-9068-BA4BC1D99480}" srcOrd="2" destOrd="0" parTransId="{81379620-3288-420A-B810-19B5CBCC5D42}" sibTransId="{6E25CA3E-907C-421D-9704-491021AF9DAB}"/>
    <dgm:cxn modelId="{A2532AD2-517F-4AEB-A280-998A21D04B91}" srcId="{CE136545-A018-4502-BFC1-A01A7CCFE576}" destId="{61CA4B28-F9A1-4905-B00F-B51BF3651E0B}" srcOrd="3" destOrd="0" parTransId="{E1EE100B-9BBA-4B12-94C8-965159B811FE}" sibTransId="{47BD00EA-1332-4021-AD10-95EFF9C2D0C0}"/>
    <dgm:cxn modelId="{A769CEEE-2B2E-4DA7-9073-4C66547EA9B5}" type="presOf" srcId="{74727F3D-2989-4611-879E-968CAECAA3CF}" destId="{5C0CA91D-458F-4D8D-AEFC-AB497E6D417C}" srcOrd="0" destOrd="0" presId="urn:microsoft.com/office/officeart/2005/8/layout/process4"/>
    <dgm:cxn modelId="{7326EEF6-9B63-4B06-A2D1-27B488AE7C29}" type="presOf" srcId="{61CA4B28-F9A1-4905-B00F-B51BF3651E0B}" destId="{B9A938CB-C6E6-487E-A8BD-5FE0271E12CE}" srcOrd="0" destOrd="0" presId="urn:microsoft.com/office/officeart/2005/8/layout/process4"/>
    <dgm:cxn modelId="{CF000F0B-6E0A-41B0-A053-B645BF3678DC}" type="presParOf" srcId="{9502D524-D0AA-4A49-9884-81EA8D2409D2}" destId="{34998825-A924-443C-B119-F99889FD8713}" srcOrd="0" destOrd="0" presId="urn:microsoft.com/office/officeart/2005/8/layout/process4"/>
    <dgm:cxn modelId="{1E284989-94A4-428F-AC00-68DDD6573C5C}" type="presParOf" srcId="{34998825-A924-443C-B119-F99889FD8713}" destId="{AC390926-759D-492B-AB77-CF407BA74328}" srcOrd="0" destOrd="0" presId="urn:microsoft.com/office/officeart/2005/8/layout/process4"/>
    <dgm:cxn modelId="{A445DFC7-5B1F-4836-8EF5-EA1E1F4C9AF7}" type="presParOf" srcId="{9502D524-D0AA-4A49-9884-81EA8D2409D2}" destId="{BDF4DB84-8B34-463F-A91F-3146126E9246}" srcOrd="1" destOrd="0" presId="urn:microsoft.com/office/officeart/2005/8/layout/process4"/>
    <dgm:cxn modelId="{43880953-B34A-4863-B825-9117067E1A05}" type="presParOf" srcId="{9502D524-D0AA-4A49-9884-81EA8D2409D2}" destId="{0F7DCD66-423B-47AE-8E08-EDA5D5CC2874}" srcOrd="2" destOrd="0" presId="urn:microsoft.com/office/officeart/2005/8/layout/process4"/>
    <dgm:cxn modelId="{DA42B719-FCCB-498F-9530-A713FB659DC6}" type="presParOf" srcId="{0F7DCD66-423B-47AE-8E08-EDA5D5CC2874}" destId="{44F915BB-13CA-4155-9369-3D188D9C8C24}" srcOrd="0" destOrd="0" presId="urn:microsoft.com/office/officeart/2005/8/layout/process4"/>
    <dgm:cxn modelId="{D76E3592-CC4D-4FEC-820E-C1A5BB0E6D93}" type="presParOf" srcId="{9502D524-D0AA-4A49-9884-81EA8D2409D2}" destId="{DFE04010-0F23-4B03-8275-B0EFE54EF560}" srcOrd="3" destOrd="0" presId="urn:microsoft.com/office/officeart/2005/8/layout/process4"/>
    <dgm:cxn modelId="{DC6C84BD-7E03-4DD5-9E7D-6A16222D5040}" type="presParOf" srcId="{9502D524-D0AA-4A49-9884-81EA8D2409D2}" destId="{D9994C93-A65B-4941-A9A1-5F1DF7E7C070}" srcOrd="4" destOrd="0" presId="urn:microsoft.com/office/officeart/2005/8/layout/process4"/>
    <dgm:cxn modelId="{B3E0F8F2-3C53-42F9-B42D-FFCAB1B00163}" type="presParOf" srcId="{D9994C93-A65B-4941-A9A1-5F1DF7E7C070}" destId="{037BBCA1-DA96-4D49-82E4-5BFB27FC9589}" srcOrd="0" destOrd="0" presId="urn:microsoft.com/office/officeart/2005/8/layout/process4"/>
    <dgm:cxn modelId="{27CB4C69-9C63-48A8-92A5-E56BFE4641AE}" type="presParOf" srcId="{9502D524-D0AA-4A49-9884-81EA8D2409D2}" destId="{2AA77212-D29A-4923-9F67-366B51CA762D}" srcOrd="5" destOrd="0" presId="urn:microsoft.com/office/officeart/2005/8/layout/process4"/>
    <dgm:cxn modelId="{A5A3E305-DE27-4588-9423-45A14082A046}" type="presParOf" srcId="{9502D524-D0AA-4A49-9884-81EA8D2409D2}" destId="{DAEC0292-A158-448A-A68D-5F064F0A1525}" srcOrd="6" destOrd="0" presId="urn:microsoft.com/office/officeart/2005/8/layout/process4"/>
    <dgm:cxn modelId="{8AFD1467-AC29-48A6-B387-FFB0BFEF6565}" type="presParOf" srcId="{DAEC0292-A158-448A-A68D-5F064F0A1525}" destId="{B9A938CB-C6E6-487E-A8BD-5FE0271E12CE}" srcOrd="0" destOrd="0" presId="urn:microsoft.com/office/officeart/2005/8/layout/process4"/>
    <dgm:cxn modelId="{3EA812B3-C705-4D0C-B855-8A81E1E83C49}" type="presParOf" srcId="{9502D524-D0AA-4A49-9884-81EA8D2409D2}" destId="{6E85AAAD-6135-4CF6-A574-DA65ACEF5C35}" srcOrd="7" destOrd="0" presId="urn:microsoft.com/office/officeart/2005/8/layout/process4"/>
    <dgm:cxn modelId="{02B9391B-3EB9-4FED-ADD5-8AA47345EB7D}" type="presParOf" srcId="{9502D524-D0AA-4A49-9884-81EA8D2409D2}" destId="{5B95E37A-948C-4A52-97EF-69277D748510}" srcOrd="8" destOrd="0" presId="urn:microsoft.com/office/officeart/2005/8/layout/process4"/>
    <dgm:cxn modelId="{626239E8-9F8A-4DFF-B96D-0E818AB0D39E}" type="presParOf" srcId="{5B95E37A-948C-4A52-97EF-69277D748510}" destId="{DE9D4EB4-CAC9-4A9D-ACA5-A3AB016B88C4}" srcOrd="0" destOrd="0" presId="urn:microsoft.com/office/officeart/2005/8/layout/process4"/>
    <dgm:cxn modelId="{F03B2DBC-1F87-490A-928C-CF06287B6F46}" type="presParOf" srcId="{9502D524-D0AA-4A49-9884-81EA8D2409D2}" destId="{CF0B3979-125A-4950-AE39-126619D81F68}" srcOrd="9" destOrd="0" presId="urn:microsoft.com/office/officeart/2005/8/layout/process4"/>
    <dgm:cxn modelId="{446F55B9-629B-427B-A4E9-2EDBBA1E8AC8}" type="presParOf" srcId="{9502D524-D0AA-4A49-9884-81EA8D2409D2}" destId="{868E2FBC-0FA5-46E9-B3C8-CBDE595622AE}" srcOrd="10" destOrd="0" presId="urn:microsoft.com/office/officeart/2005/8/layout/process4"/>
    <dgm:cxn modelId="{957BD22F-C62E-4E90-815F-5349EF77CD29}" type="presParOf" srcId="{868E2FBC-0FA5-46E9-B3C8-CBDE595622AE}" destId="{04C9FAE8-795C-4A6B-A109-F1E518811555}" srcOrd="0" destOrd="0" presId="urn:microsoft.com/office/officeart/2005/8/layout/process4"/>
    <dgm:cxn modelId="{BD261648-F49A-42E0-9555-4E40E0C522FE}" type="presParOf" srcId="{9502D524-D0AA-4A49-9884-81EA8D2409D2}" destId="{FC88AC73-5FB0-42D8-92DD-2EA9664B81B8}" srcOrd="11" destOrd="0" presId="urn:microsoft.com/office/officeart/2005/8/layout/process4"/>
    <dgm:cxn modelId="{AC5221BC-49BE-4CAA-90B1-B06A4E3F8EEF}" type="presParOf" srcId="{9502D524-D0AA-4A49-9884-81EA8D2409D2}" destId="{BF4F7E15-6F4F-4433-A362-3177ADAE6761}" srcOrd="12" destOrd="0" presId="urn:microsoft.com/office/officeart/2005/8/layout/process4"/>
    <dgm:cxn modelId="{EDC7DEFC-926D-472F-AB0D-870ED38DAFAB}" type="presParOf" srcId="{BF4F7E15-6F4F-4433-A362-3177ADAE6761}" destId="{5C0CA91D-458F-4D8D-AEFC-AB497E6D417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19-2020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0-2021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CDBAD342-69C5-4EB7-8DC1-C435101C223D}">
      <dgm:prSet phldrT="[Texte]" custT="1"/>
      <dgm:spPr/>
      <dgm:t>
        <a:bodyPr/>
        <a:lstStyle/>
        <a:p>
          <a:r>
            <a:rPr lang="fr-FR" sz="2000" dirty="0"/>
            <a:t>Point sur la situation sanitaire actuelle </a:t>
          </a:r>
        </a:p>
      </dgm:t>
    </dgm:pt>
    <dgm:pt modelId="{2A95C333-A401-4FE4-93B6-8A091C4B2C24}" type="parTrans" cxnId="{A3C563DF-F3FD-4D95-9A53-D91BB5FA6264}">
      <dgm:prSet/>
      <dgm:spPr/>
      <dgm:t>
        <a:bodyPr/>
        <a:lstStyle/>
        <a:p>
          <a:endParaRPr lang="fr-FR"/>
        </a:p>
      </dgm:t>
    </dgm:pt>
    <dgm:pt modelId="{4579CE07-19BD-470D-9C30-0F31309F901C}" type="sibTrans" cxnId="{A3C563DF-F3FD-4D95-9A53-D91BB5FA626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6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6"/>
      <dgm:spPr/>
    </dgm:pt>
    <dgm:pt modelId="{4485BF69-EF87-4AEE-AFDF-DE2F8D2ACCD9}" type="pres">
      <dgm:prSet presAssocID="{F010CF21-4A6D-44EF-A02C-3D5169816247}" presName="dstNode" presStyleLbl="node1" presStyleIdx="0" presStyleCnt="6"/>
      <dgm:spPr/>
    </dgm:pt>
    <dgm:pt modelId="{54C74578-773C-4297-A4DE-1398F67BB91C}" type="pres">
      <dgm:prSet presAssocID="{59788018-3182-43A3-8988-94BE0745A02A}" presName="text_1" presStyleLbl="node1" presStyleIdx="0" presStyleCnt="6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6"/>
      <dgm:spPr/>
    </dgm:pt>
    <dgm:pt modelId="{FC0295C0-CE64-47B5-998E-77C448499C98}" type="pres">
      <dgm:prSet presAssocID="{CDBAD342-69C5-4EB7-8DC1-C435101C223D}" presName="text_2" presStyleLbl="node1" presStyleIdx="1" presStyleCnt="6">
        <dgm:presLayoutVars>
          <dgm:bulletEnabled val="1"/>
        </dgm:presLayoutVars>
      </dgm:prSet>
      <dgm:spPr/>
    </dgm:pt>
    <dgm:pt modelId="{08DEAB1D-53C4-4A2A-BA96-15CA12239B72}" type="pres">
      <dgm:prSet presAssocID="{CDBAD342-69C5-4EB7-8DC1-C435101C223D}" presName="accent_2" presStyleCnt="0"/>
      <dgm:spPr/>
    </dgm:pt>
    <dgm:pt modelId="{B866E7F9-E5E7-484B-AB61-13B12708D460}" type="pres">
      <dgm:prSet presAssocID="{CDBAD342-69C5-4EB7-8DC1-C435101C223D}" presName="accentRepeatNode" presStyleLbl="solidFgAcc1" presStyleIdx="1" presStyleCnt="6"/>
      <dgm:spPr/>
    </dgm:pt>
    <dgm:pt modelId="{2A5CEEB8-6E5B-483B-B9F8-75ED22884F54}" type="pres">
      <dgm:prSet presAssocID="{B9A48CF8-D428-45D1-8969-FBBF15BE7DBA}" presName="text_3" presStyleLbl="node1" presStyleIdx="2" presStyleCnt="6">
        <dgm:presLayoutVars>
          <dgm:bulletEnabled val="1"/>
        </dgm:presLayoutVars>
      </dgm:prSet>
      <dgm:spPr/>
    </dgm:pt>
    <dgm:pt modelId="{84CA3009-D7FB-4254-8CD8-894C008D9E34}" type="pres">
      <dgm:prSet presAssocID="{B9A48CF8-D428-45D1-8969-FBBF15BE7DBA}" presName="accent_3" presStyleCnt="0"/>
      <dgm:spPr/>
    </dgm:pt>
    <dgm:pt modelId="{7A113706-4115-4E46-A0DB-BB2E4C947383}" type="pres">
      <dgm:prSet presAssocID="{B9A48CF8-D428-45D1-8969-FBBF15BE7DBA}" presName="accentRepeatNode" presStyleLbl="solidFgAcc1" presStyleIdx="2" presStyleCnt="6"/>
      <dgm:spPr/>
    </dgm:pt>
    <dgm:pt modelId="{90AFB06F-5233-4B87-9F90-CF49EC1E6031}" type="pres">
      <dgm:prSet presAssocID="{2950704D-F612-46DF-93DB-38562274CE0A}" presName="text_4" presStyleLbl="node1" presStyleIdx="3" presStyleCnt="6">
        <dgm:presLayoutVars>
          <dgm:bulletEnabled val="1"/>
        </dgm:presLayoutVars>
      </dgm:prSet>
      <dgm:spPr/>
    </dgm:pt>
    <dgm:pt modelId="{2FA75C2A-ED5B-4FF6-AC11-C64CBCCC3080}" type="pres">
      <dgm:prSet presAssocID="{2950704D-F612-46DF-93DB-38562274CE0A}" presName="accent_4" presStyleCnt="0"/>
      <dgm:spPr/>
    </dgm:pt>
    <dgm:pt modelId="{0692BF8D-B063-4580-8A2D-225A14481CCD}" type="pres">
      <dgm:prSet presAssocID="{2950704D-F612-46DF-93DB-38562274CE0A}" presName="accentRepeatNode" presStyleLbl="solidFgAcc1" presStyleIdx="3" presStyleCnt="6"/>
      <dgm:spPr/>
    </dgm:pt>
    <dgm:pt modelId="{40E805B5-61E0-496D-8348-916A9D159C92}" type="pres">
      <dgm:prSet presAssocID="{445F633E-575C-4AF5-92DD-A71CC7C927A2}" presName="text_5" presStyleLbl="node1" presStyleIdx="4" presStyleCnt="6">
        <dgm:presLayoutVars>
          <dgm:bulletEnabled val="1"/>
        </dgm:presLayoutVars>
      </dgm:prSet>
      <dgm:spPr/>
    </dgm:pt>
    <dgm:pt modelId="{C2C7E345-B783-4EDD-A02C-9F73D6F20217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6"/>
      <dgm:spPr/>
    </dgm:pt>
    <dgm:pt modelId="{3AF69084-E551-402E-95FC-95D83736201C}" type="pres">
      <dgm:prSet presAssocID="{414797EB-74B4-4291-AF3E-06BCA64CF6B6}" presName="text_6" presStyleLbl="node1" presStyleIdx="5" presStyleCnt="6">
        <dgm:presLayoutVars>
          <dgm:bulletEnabled val="1"/>
        </dgm:presLayoutVars>
      </dgm:prSet>
      <dgm:spPr/>
    </dgm:pt>
    <dgm:pt modelId="{F5EF7981-6B08-414D-9727-90B3DCD7F7EA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6"/>
      <dgm:spPr/>
    </dgm:pt>
  </dgm:ptLst>
  <dgm:cxnLst>
    <dgm:cxn modelId="{526ECF28-3CAD-4D93-A271-BA130FC38A40}" srcId="{F010CF21-4A6D-44EF-A02C-3D5169816247}" destId="{B9A48CF8-D428-45D1-8969-FBBF15BE7DBA}" srcOrd="2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7F21A771-B949-4BB4-9FF5-57A450042B3B}" type="presOf" srcId="{414797EB-74B4-4291-AF3E-06BCA64CF6B6}" destId="{3AF69084-E551-402E-95FC-95D83736201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82A827A8-E41C-4524-BA29-EDCADC2E46D9}" type="presOf" srcId="{2950704D-F612-46DF-93DB-38562274CE0A}" destId="{90AFB06F-5233-4B87-9F90-CF49EC1E6031}" srcOrd="0" destOrd="0" presId="urn:microsoft.com/office/officeart/2008/layout/VerticalCurvedList"/>
    <dgm:cxn modelId="{E62432B3-0548-45BE-B135-34FBDCB7F78B}" type="presOf" srcId="{445F633E-575C-4AF5-92DD-A71CC7C927A2}" destId="{40E805B5-61E0-496D-8348-916A9D159C92}" srcOrd="0" destOrd="0" presId="urn:microsoft.com/office/officeart/2008/layout/VerticalCurvedList"/>
    <dgm:cxn modelId="{A3F6F9CC-A017-4180-9E88-CDD61E653699}" type="presOf" srcId="{CDBAD342-69C5-4EB7-8DC1-C435101C223D}" destId="{FC0295C0-CE64-47B5-998E-77C448499C98}" srcOrd="0" destOrd="0" presId="urn:microsoft.com/office/officeart/2008/layout/VerticalCurvedList"/>
    <dgm:cxn modelId="{75BC15D3-E58B-4B5A-AEB7-3CE02EFD8705}" srcId="{F010CF21-4A6D-44EF-A02C-3D5169816247}" destId="{2950704D-F612-46DF-93DB-38562274CE0A}" srcOrd="3" destOrd="0" parTransId="{987F1677-1426-4E16-870E-56D0BC663F9B}" sibTransId="{83820126-CD9B-4B36-913F-47587C72FAFD}"/>
    <dgm:cxn modelId="{A3C563DF-F3FD-4D95-9A53-D91BB5FA6264}" srcId="{F010CF21-4A6D-44EF-A02C-3D5169816247}" destId="{CDBAD342-69C5-4EB7-8DC1-C435101C223D}" srcOrd="1" destOrd="0" parTransId="{2A95C333-A401-4FE4-93B6-8A091C4B2C24}" sibTransId="{4579CE07-19BD-470D-9C30-0F31309F901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A76C8EF8-9FF4-4596-B882-BDBDE5CB0630}" type="presOf" srcId="{B9A48CF8-D428-45D1-8969-FBBF15BE7DBA}" destId="{2A5CEEB8-6E5B-483B-B9F8-75ED22884F54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6EE4501F-DB0F-422F-9178-7ED54BC8EAEE}" type="presParOf" srcId="{43AFC4E7-46DA-4B7B-B201-0A406A05CAD2}" destId="{FC0295C0-CE64-47B5-998E-77C448499C98}" srcOrd="3" destOrd="0" presId="urn:microsoft.com/office/officeart/2008/layout/VerticalCurvedList"/>
    <dgm:cxn modelId="{BF0E5D98-C8B2-4177-8E85-825CF1F6E673}" type="presParOf" srcId="{43AFC4E7-46DA-4B7B-B201-0A406A05CAD2}" destId="{08DEAB1D-53C4-4A2A-BA96-15CA12239B72}" srcOrd="4" destOrd="0" presId="urn:microsoft.com/office/officeart/2008/layout/VerticalCurvedList"/>
    <dgm:cxn modelId="{B9909701-801A-4A6A-9ECB-8B8670497319}" type="presParOf" srcId="{08DEAB1D-53C4-4A2A-BA96-15CA12239B72}" destId="{B866E7F9-E5E7-484B-AB61-13B12708D460}" srcOrd="0" destOrd="0" presId="urn:microsoft.com/office/officeart/2008/layout/VerticalCurvedList"/>
    <dgm:cxn modelId="{71FA8266-6C10-496E-A7A9-B204C3DB586C}" type="presParOf" srcId="{43AFC4E7-46DA-4B7B-B201-0A406A05CAD2}" destId="{2A5CEEB8-6E5B-483B-B9F8-75ED22884F54}" srcOrd="5" destOrd="0" presId="urn:microsoft.com/office/officeart/2008/layout/VerticalCurvedList"/>
    <dgm:cxn modelId="{36958FC1-568D-4CA0-926F-39FA991C19F2}" type="presParOf" srcId="{43AFC4E7-46DA-4B7B-B201-0A406A05CAD2}" destId="{84CA3009-D7FB-4254-8CD8-894C008D9E34}" srcOrd="6" destOrd="0" presId="urn:microsoft.com/office/officeart/2008/layout/VerticalCurvedList"/>
    <dgm:cxn modelId="{1D5C8608-C4A3-4235-A4F1-19F4EDEEE90E}" type="presParOf" srcId="{84CA3009-D7FB-4254-8CD8-894C008D9E34}" destId="{7A113706-4115-4E46-A0DB-BB2E4C947383}" srcOrd="0" destOrd="0" presId="urn:microsoft.com/office/officeart/2008/layout/VerticalCurvedList"/>
    <dgm:cxn modelId="{80D7A1F2-83EF-4494-85CC-1C6C55ADACB5}" type="presParOf" srcId="{43AFC4E7-46DA-4B7B-B201-0A406A05CAD2}" destId="{90AFB06F-5233-4B87-9F90-CF49EC1E6031}" srcOrd="7" destOrd="0" presId="urn:microsoft.com/office/officeart/2008/layout/VerticalCurvedList"/>
    <dgm:cxn modelId="{BE0F58EC-954A-4DCA-A002-0BA9FD94D319}" type="presParOf" srcId="{43AFC4E7-46DA-4B7B-B201-0A406A05CAD2}" destId="{2FA75C2A-ED5B-4FF6-AC11-C64CBCCC3080}" srcOrd="8" destOrd="0" presId="urn:microsoft.com/office/officeart/2008/layout/VerticalCurvedList"/>
    <dgm:cxn modelId="{FF5DBD0A-CD15-4C69-B11E-ED7B82845063}" type="presParOf" srcId="{2FA75C2A-ED5B-4FF6-AC11-C64CBCCC3080}" destId="{0692BF8D-B063-4580-8A2D-225A14481CCD}" srcOrd="0" destOrd="0" presId="urn:microsoft.com/office/officeart/2008/layout/VerticalCurvedList"/>
    <dgm:cxn modelId="{05DC1C0B-BC3E-4225-96AA-E6F35DFF0D16}" type="presParOf" srcId="{43AFC4E7-46DA-4B7B-B201-0A406A05CAD2}" destId="{40E805B5-61E0-496D-8348-916A9D159C92}" srcOrd="9" destOrd="0" presId="urn:microsoft.com/office/officeart/2008/layout/VerticalCurvedList"/>
    <dgm:cxn modelId="{C0B32528-91D6-4A03-AB7E-4CDD68FC1EE6}" type="presParOf" srcId="{43AFC4E7-46DA-4B7B-B201-0A406A05CAD2}" destId="{C2C7E345-B783-4EDD-A02C-9F73D6F20217}" srcOrd="10" destOrd="0" presId="urn:microsoft.com/office/officeart/2008/layout/VerticalCurvedList"/>
    <dgm:cxn modelId="{3A7E6B34-84A7-4442-AAA9-C16A31B1048C}" type="presParOf" srcId="{C2C7E345-B783-4EDD-A02C-9F73D6F20217}" destId="{1CAC461D-769E-43F1-85D8-A86E37EE9368}" srcOrd="0" destOrd="0" presId="urn:microsoft.com/office/officeart/2008/layout/VerticalCurvedList"/>
    <dgm:cxn modelId="{9DDDF2F1-EE99-47B0-99E2-0A7310BF3326}" type="presParOf" srcId="{43AFC4E7-46DA-4B7B-B201-0A406A05CAD2}" destId="{3AF69084-E551-402E-95FC-95D83736201C}" srcOrd="11" destOrd="0" presId="urn:microsoft.com/office/officeart/2008/layout/VerticalCurvedList"/>
    <dgm:cxn modelId="{AC345CA3-393D-4031-A75D-3FAD35A5D78D}" type="presParOf" srcId="{43AFC4E7-46DA-4B7B-B201-0A406A05CAD2}" destId="{F5EF7981-6B08-414D-9727-90B3DCD7F7EA}" srcOrd="12" destOrd="0" presId="urn:microsoft.com/office/officeart/2008/layout/VerticalCurvedList"/>
    <dgm:cxn modelId="{6023ABD4-9DE6-45A4-8C3B-D3EA8D33F04F}" type="presParOf" srcId="{F5EF7981-6B08-414D-9727-90B3DCD7F7EA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19-2020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0-2021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CDBAD342-69C5-4EB7-8DC1-C435101C223D}">
      <dgm:prSet phldrT="[Texte]" custT="1"/>
      <dgm:spPr/>
      <dgm:t>
        <a:bodyPr/>
        <a:lstStyle/>
        <a:p>
          <a:r>
            <a:rPr lang="fr-FR" sz="2000" dirty="0"/>
            <a:t>Point sur la situation sanitaire actuelle </a:t>
          </a:r>
        </a:p>
      </dgm:t>
    </dgm:pt>
    <dgm:pt modelId="{2A95C333-A401-4FE4-93B6-8A091C4B2C24}" type="parTrans" cxnId="{A3C563DF-F3FD-4D95-9A53-D91BB5FA6264}">
      <dgm:prSet/>
      <dgm:spPr/>
      <dgm:t>
        <a:bodyPr/>
        <a:lstStyle/>
        <a:p>
          <a:endParaRPr lang="fr-FR"/>
        </a:p>
      </dgm:t>
    </dgm:pt>
    <dgm:pt modelId="{4579CE07-19BD-470D-9C30-0F31309F901C}" type="sibTrans" cxnId="{A3C563DF-F3FD-4D95-9A53-D91BB5FA626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6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6"/>
      <dgm:spPr/>
    </dgm:pt>
    <dgm:pt modelId="{4485BF69-EF87-4AEE-AFDF-DE2F8D2ACCD9}" type="pres">
      <dgm:prSet presAssocID="{F010CF21-4A6D-44EF-A02C-3D5169816247}" presName="dstNode" presStyleLbl="node1" presStyleIdx="0" presStyleCnt="6"/>
      <dgm:spPr/>
    </dgm:pt>
    <dgm:pt modelId="{54C74578-773C-4297-A4DE-1398F67BB91C}" type="pres">
      <dgm:prSet presAssocID="{59788018-3182-43A3-8988-94BE0745A02A}" presName="text_1" presStyleLbl="node1" presStyleIdx="0" presStyleCnt="6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6"/>
      <dgm:spPr/>
    </dgm:pt>
    <dgm:pt modelId="{FC0295C0-CE64-47B5-998E-77C448499C98}" type="pres">
      <dgm:prSet presAssocID="{CDBAD342-69C5-4EB7-8DC1-C435101C223D}" presName="text_2" presStyleLbl="node1" presStyleIdx="1" presStyleCnt="6">
        <dgm:presLayoutVars>
          <dgm:bulletEnabled val="1"/>
        </dgm:presLayoutVars>
      </dgm:prSet>
      <dgm:spPr/>
    </dgm:pt>
    <dgm:pt modelId="{08DEAB1D-53C4-4A2A-BA96-15CA12239B72}" type="pres">
      <dgm:prSet presAssocID="{CDBAD342-69C5-4EB7-8DC1-C435101C223D}" presName="accent_2" presStyleCnt="0"/>
      <dgm:spPr/>
    </dgm:pt>
    <dgm:pt modelId="{B866E7F9-E5E7-484B-AB61-13B12708D460}" type="pres">
      <dgm:prSet presAssocID="{CDBAD342-69C5-4EB7-8DC1-C435101C223D}" presName="accentRepeatNode" presStyleLbl="solidFgAcc1" presStyleIdx="1" presStyleCnt="6"/>
      <dgm:spPr/>
    </dgm:pt>
    <dgm:pt modelId="{2A5CEEB8-6E5B-483B-B9F8-75ED22884F54}" type="pres">
      <dgm:prSet presAssocID="{B9A48CF8-D428-45D1-8969-FBBF15BE7DBA}" presName="text_3" presStyleLbl="node1" presStyleIdx="2" presStyleCnt="6">
        <dgm:presLayoutVars>
          <dgm:bulletEnabled val="1"/>
        </dgm:presLayoutVars>
      </dgm:prSet>
      <dgm:spPr/>
    </dgm:pt>
    <dgm:pt modelId="{84CA3009-D7FB-4254-8CD8-894C008D9E34}" type="pres">
      <dgm:prSet presAssocID="{B9A48CF8-D428-45D1-8969-FBBF15BE7DBA}" presName="accent_3" presStyleCnt="0"/>
      <dgm:spPr/>
    </dgm:pt>
    <dgm:pt modelId="{7A113706-4115-4E46-A0DB-BB2E4C947383}" type="pres">
      <dgm:prSet presAssocID="{B9A48CF8-D428-45D1-8969-FBBF15BE7DBA}" presName="accentRepeatNode" presStyleLbl="solidFgAcc1" presStyleIdx="2" presStyleCnt="6"/>
      <dgm:spPr/>
    </dgm:pt>
    <dgm:pt modelId="{90AFB06F-5233-4B87-9F90-CF49EC1E6031}" type="pres">
      <dgm:prSet presAssocID="{2950704D-F612-46DF-93DB-38562274CE0A}" presName="text_4" presStyleLbl="node1" presStyleIdx="3" presStyleCnt="6">
        <dgm:presLayoutVars>
          <dgm:bulletEnabled val="1"/>
        </dgm:presLayoutVars>
      </dgm:prSet>
      <dgm:spPr/>
    </dgm:pt>
    <dgm:pt modelId="{2FA75C2A-ED5B-4FF6-AC11-C64CBCCC3080}" type="pres">
      <dgm:prSet presAssocID="{2950704D-F612-46DF-93DB-38562274CE0A}" presName="accent_4" presStyleCnt="0"/>
      <dgm:spPr/>
    </dgm:pt>
    <dgm:pt modelId="{0692BF8D-B063-4580-8A2D-225A14481CCD}" type="pres">
      <dgm:prSet presAssocID="{2950704D-F612-46DF-93DB-38562274CE0A}" presName="accentRepeatNode" presStyleLbl="solidFgAcc1" presStyleIdx="3" presStyleCnt="6"/>
      <dgm:spPr/>
    </dgm:pt>
    <dgm:pt modelId="{40E805B5-61E0-496D-8348-916A9D159C92}" type="pres">
      <dgm:prSet presAssocID="{445F633E-575C-4AF5-92DD-A71CC7C927A2}" presName="text_5" presStyleLbl="node1" presStyleIdx="4" presStyleCnt="6">
        <dgm:presLayoutVars>
          <dgm:bulletEnabled val="1"/>
        </dgm:presLayoutVars>
      </dgm:prSet>
      <dgm:spPr/>
    </dgm:pt>
    <dgm:pt modelId="{C2C7E345-B783-4EDD-A02C-9F73D6F20217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6"/>
      <dgm:spPr/>
    </dgm:pt>
    <dgm:pt modelId="{3AF69084-E551-402E-95FC-95D83736201C}" type="pres">
      <dgm:prSet presAssocID="{414797EB-74B4-4291-AF3E-06BCA64CF6B6}" presName="text_6" presStyleLbl="node1" presStyleIdx="5" presStyleCnt="6">
        <dgm:presLayoutVars>
          <dgm:bulletEnabled val="1"/>
        </dgm:presLayoutVars>
      </dgm:prSet>
      <dgm:spPr/>
    </dgm:pt>
    <dgm:pt modelId="{F5EF7981-6B08-414D-9727-90B3DCD7F7EA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6"/>
      <dgm:spPr/>
    </dgm:pt>
  </dgm:ptLst>
  <dgm:cxnLst>
    <dgm:cxn modelId="{526ECF28-3CAD-4D93-A271-BA130FC38A40}" srcId="{F010CF21-4A6D-44EF-A02C-3D5169816247}" destId="{B9A48CF8-D428-45D1-8969-FBBF15BE7DBA}" srcOrd="2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7F21A771-B949-4BB4-9FF5-57A450042B3B}" type="presOf" srcId="{414797EB-74B4-4291-AF3E-06BCA64CF6B6}" destId="{3AF69084-E551-402E-95FC-95D83736201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82A827A8-E41C-4524-BA29-EDCADC2E46D9}" type="presOf" srcId="{2950704D-F612-46DF-93DB-38562274CE0A}" destId="{90AFB06F-5233-4B87-9F90-CF49EC1E6031}" srcOrd="0" destOrd="0" presId="urn:microsoft.com/office/officeart/2008/layout/VerticalCurvedList"/>
    <dgm:cxn modelId="{E62432B3-0548-45BE-B135-34FBDCB7F78B}" type="presOf" srcId="{445F633E-575C-4AF5-92DD-A71CC7C927A2}" destId="{40E805B5-61E0-496D-8348-916A9D159C92}" srcOrd="0" destOrd="0" presId="urn:microsoft.com/office/officeart/2008/layout/VerticalCurvedList"/>
    <dgm:cxn modelId="{A3F6F9CC-A017-4180-9E88-CDD61E653699}" type="presOf" srcId="{CDBAD342-69C5-4EB7-8DC1-C435101C223D}" destId="{FC0295C0-CE64-47B5-998E-77C448499C98}" srcOrd="0" destOrd="0" presId="urn:microsoft.com/office/officeart/2008/layout/VerticalCurvedList"/>
    <dgm:cxn modelId="{75BC15D3-E58B-4B5A-AEB7-3CE02EFD8705}" srcId="{F010CF21-4A6D-44EF-A02C-3D5169816247}" destId="{2950704D-F612-46DF-93DB-38562274CE0A}" srcOrd="3" destOrd="0" parTransId="{987F1677-1426-4E16-870E-56D0BC663F9B}" sibTransId="{83820126-CD9B-4B36-913F-47587C72FAFD}"/>
    <dgm:cxn modelId="{A3C563DF-F3FD-4D95-9A53-D91BB5FA6264}" srcId="{F010CF21-4A6D-44EF-A02C-3D5169816247}" destId="{CDBAD342-69C5-4EB7-8DC1-C435101C223D}" srcOrd="1" destOrd="0" parTransId="{2A95C333-A401-4FE4-93B6-8A091C4B2C24}" sibTransId="{4579CE07-19BD-470D-9C30-0F31309F901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A76C8EF8-9FF4-4596-B882-BDBDE5CB0630}" type="presOf" srcId="{B9A48CF8-D428-45D1-8969-FBBF15BE7DBA}" destId="{2A5CEEB8-6E5B-483B-B9F8-75ED22884F54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6EE4501F-DB0F-422F-9178-7ED54BC8EAEE}" type="presParOf" srcId="{43AFC4E7-46DA-4B7B-B201-0A406A05CAD2}" destId="{FC0295C0-CE64-47B5-998E-77C448499C98}" srcOrd="3" destOrd="0" presId="urn:microsoft.com/office/officeart/2008/layout/VerticalCurvedList"/>
    <dgm:cxn modelId="{BF0E5D98-C8B2-4177-8E85-825CF1F6E673}" type="presParOf" srcId="{43AFC4E7-46DA-4B7B-B201-0A406A05CAD2}" destId="{08DEAB1D-53C4-4A2A-BA96-15CA12239B72}" srcOrd="4" destOrd="0" presId="urn:microsoft.com/office/officeart/2008/layout/VerticalCurvedList"/>
    <dgm:cxn modelId="{B9909701-801A-4A6A-9ECB-8B8670497319}" type="presParOf" srcId="{08DEAB1D-53C4-4A2A-BA96-15CA12239B72}" destId="{B866E7F9-E5E7-484B-AB61-13B12708D460}" srcOrd="0" destOrd="0" presId="urn:microsoft.com/office/officeart/2008/layout/VerticalCurvedList"/>
    <dgm:cxn modelId="{71FA8266-6C10-496E-A7A9-B204C3DB586C}" type="presParOf" srcId="{43AFC4E7-46DA-4B7B-B201-0A406A05CAD2}" destId="{2A5CEEB8-6E5B-483B-B9F8-75ED22884F54}" srcOrd="5" destOrd="0" presId="urn:microsoft.com/office/officeart/2008/layout/VerticalCurvedList"/>
    <dgm:cxn modelId="{36958FC1-568D-4CA0-926F-39FA991C19F2}" type="presParOf" srcId="{43AFC4E7-46DA-4B7B-B201-0A406A05CAD2}" destId="{84CA3009-D7FB-4254-8CD8-894C008D9E34}" srcOrd="6" destOrd="0" presId="urn:microsoft.com/office/officeart/2008/layout/VerticalCurvedList"/>
    <dgm:cxn modelId="{1D5C8608-C4A3-4235-A4F1-19F4EDEEE90E}" type="presParOf" srcId="{84CA3009-D7FB-4254-8CD8-894C008D9E34}" destId="{7A113706-4115-4E46-A0DB-BB2E4C947383}" srcOrd="0" destOrd="0" presId="urn:microsoft.com/office/officeart/2008/layout/VerticalCurvedList"/>
    <dgm:cxn modelId="{80D7A1F2-83EF-4494-85CC-1C6C55ADACB5}" type="presParOf" srcId="{43AFC4E7-46DA-4B7B-B201-0A406A05CAD2}" destId="{90AFB06F-5233-4B87-9F90-CF49EC1E6031}" srcOrd="7" destOrd="0" presId="urn:microsoft.com/office/officeart/2008/layout/VerticalCurvedList"/>
    <dgm:cxn modelId="{BE0F58EC-954A-4DCA-A002-0BA9FD94D319}" type="presParOf" srcId="{43AFC4E7-46DA-4B7B-B201-0A406A05CAD2}" destId="{2FA75C2A-ED5B-4FF6-AC11-C64CBCCC3080}" srcOrd="8" destOrd="0" presId="urn:microsoft.com/office/officeart/2008/layout/VerticalCurvedList"/>
    <dgm:cxn modelId="{FF5DBD0A-CD15-4C69-B11E-ED7B82845063}" type="presParOf" srcId="{2FA75C2A-ED5B-4FF6-AC11-C64CBCCC3080}" destId="{0692BF8D-B063-4580-8A2D-225A14481CCD}" srcOrd="0" destOrd="0" presId="urn:microsoft.com/office/officeart/2008/layout/VerticalCurvedList"/>
    <dgm:cxn modelId="{05DC1C0B-BC3E-4225-96AA-E6F35DFF0D16}" type="presParOf" srcId="{43AFC4E7-46DA-4B7B-B201-0A406A05CAD2}" destId="{40E805B5-61E0-496D-8348-916A9D159C92}" srcOrd="9" destOrd="0" presId="urn:microsoft.com/office/officeart/2008/layout/VerticalCurvedList"/>
    <dgm:cxn modelId="{C0B32528-91D6-4A03-AB7E-4CDD68FC1EE6}" type="presParOf" srcId="{43AFC4E7-46DA-4B7B-B201-0A406A05CAD2}" destId="{C2C7E345-B783-4EDD-A02C-9F73D6F20217}" srcOrd="10" destOrd="0" presId="urn:microsoft.com/office/officeart/2008/layout/VerticalCurvedList"/>
    <dgm:cxn modelId="{3A7E6B34-84A7-4442-AAA9-C16A31B1048C}" type="presParOf" srcId="{C2C7E345-B783-4EDD-A02C-9F73D6F20217}" destId="{1CAC461D-769E-43F1-85D8-A86E37EE9368}" srcOrd="0" destOrd="0" presId="urn:microsoft.com/office/officeart/2008/layout/VerticalCurvedList"/>
    <dgm:cxn modelId="{9DDDF2F1-EE99-47B0-99E2-0A7310BF3326}" type="presParOf" srcId="{43AFC4E7-46DA-4B7B-B201-0A406A05CAD2}" destId="{3AF69084-E551-402E-95FC-95D83736201C}" srcOrd="11" destOrd="0" presId="urn:microsoft.com/office/officeart/2008/layout/VerticalCurvedList"/>
    <dgm:cxn modelId="{AC345CA3-393D-4031-A75D-3FAD35A5D78D}" type="presParOf" srcId="{43AFC4E7-46DA-4B7B-B201-0A406A05CAD2}" destId="{F5EF7981-6B08-414D-9727-90B3DCD7F7EA}" srcOrd="12" destOrd="0" presId="urn:microsoft.com/office/officeart/2008/layout/VerticalCurvedList"/>
    <dgm:cxn modelId="{6023ABD4-9DE6-45A4-8C3B-D3EA8D33F04F}" type="presParOf" srcId="{F5EF7981-6B08-414D-9727-90B3DCD7F7EA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19-2020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0-2021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CDBAD342-69C5-4EB7-8DC1-C435101C223D}">
      <dgm:prSet phldrT="[Texte]" custT="1"/>
      <dgm:spPr/>
      <dgm:t>
        <a:bodyPr/>
        <a:lstStyle/>
        <a:p>
          <a:r>
            <a:rPr lang="fr-FR" sz="2000" dirty="0"/>
            <a:t>Point sur la situation sanitaire actuelle </a:t>
          </a:r>
        </a:p>
      </dgm:t>
    </dgm:pt>
    <dgm:pt modelId="{2A95C333-A401-4FE4-93B6-8A091C4B2C24}" type="parTrans" cxnId="{A3C563DF-F3FD-4D95-9A53-D91BB5FA6264}">
      <dgm:prSet/>
      <dgm:spPr/>
      <dgm:t>
        <a:bodyPr/>
        <a:lstStyle/>
        <a:p>
          <a:endParaRPr lang="fr-FR"/>
        </a:p>
      </dgm:t>
    </dgm:pt>
    <dgm:pt modelId="{4579CE07-19BD-470D-9C30-0F31309F901C}" type="sibTrans" cxnId="{A3C563DF-F3FD-4D95-9A53-D91BB5FA626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6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6"/>
      <dgm:spPr/>
    </dgm:pt>
    <dgm:pt modelId="{4485BF69-EF87-4AEE-AFDF-DE2F8D2ACCD9}" type="pres">
      <dgm:prSet presAssocID="{F010CF21-4A6D-44EF-A02C-3D5169816247}" presName="dstNode" presStyleLbl="node1" presStyleIdx="0" presStyleCnt="6"/>
      <dgm:spPr/>
    </dgm:pt>
    <dgm:pt modelId="{54C74578-773C-4297-A4DE-1398F67BB91C}" type="pres">
      <dgm:prSet presAssocID="{59788018-3182-43A3-8988-94BE0745A02A}" presName="text_1" presStyleLbl="node1" presStyleIdx="0" presStyleCnt="6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6"/>
      <dgm:spPr/>
    </dgm:pt>
    <dgm:pt modelId="{FC0295C0-CE64-47B5-998E-77C448499C98}" type="pres">
      <dgm:prSet presAssocID="{CDBAD342-69C5-4EB7-8DC1-C435101C223D}" presName="text_2" presStyleLbl="node1" presStyleIdx="1" presStyleCnt="6">
        <dgm:presLayoutVars>
          <dgm:bulletEnabled val="1"/>
        </dgm:presLayoutVars>
      </dgm:prSet>
      <dgm:spPr/>
    </dgm:pt>
    <dgm:pt modelId="{08DEAB1D-53C4-4A2A-BA96-15CA12239B72}" type="pres">
      <dgm:prSet presAssocID="{CDBAD342-69C5-4EB7-8DC1-C435101C223D}" presName="accent_2" presStyleCnt="0"/>
      <dgm:spPr/>
    </dgm:pt>
    <dgm:pt modelId="{B866E7F9-E5E7-484B-AB61-13B12708D460}" type="pres">
      <dgm:prSet presAssocID="{CDBAD342-69C5-4EB7-8DC1-C435101C223D}" presName="accentRepeatNode" presStyleLbl="solidFgAcc1" presStyleIdx="1" presStyleCnt="6"/>
      <dgm:spPr/>
    </dgm:pt>
    <dgm:pt modelId="{2A5CEEB8-6E5B-483B-B9F8-75ED22884F54}" type="pres">
      <dgm:prSet presAssocID="{B9A48CF8-D428-45D1-8969-FBBF15BE7DBA}" presName="text_3" presStyleLbl="node1" presStyleIdx="2" presStyleCnt="6">
        <dgm:presLayoutVars>
          <dgm:bulletEnabled val="1"/>
        </dgm:presLayoutVars>
      </dgm:prSet>
      <dgm:spPr/>
    </dgm:pt>
    <dgm:pt modelId="{84CA3009-D7FB-4254-8CD8-894C008D9E34}" type="pres">
      <dgm:prSet presAssocID="{B9A48CF8-D428-45D1-8969-FBBF15BE7DBA}" presName="accent_3" presStyleCnt="0"/>
      <dgm:spPr/>
    </dgm:pt>
    <dgm:pt modelId="{7A113706-4115-4E46-A0DB-BB2E4C947383}" type="pres">
      <dgm:prSet presAssocID="{B9A48CF8-D428-45D1-8969-FBBF15BE7DBA}" presName="accentRepeatNode" presStyleLbl="solidFgAcc1" presStyleIdx="2" presStyleCnt="6"/>
      <dgm:spPr/>
    </dgm:pt>
    <dgm:pt modelId="{90AFB06F-5233-4B87-9F90-CF49EC1E6031}" type="pres">
      <dgm:prSet presAssocID="{2950704D-F612-46DF-93DB-38562274CE0A}" presName="text_4" presStyleLbl="node1" presStyleIdx="3" presStyleCnt="6">
        <dgm:presLayoutVars>
          <dgm:bulletEnabled val="1"/>
        </dgm:presLayoutVars>
      </dgm:prSet>
      <dgm:spPr/>
    </dgm:pt>
    <dgm:pt modelId="{2FA75C2A-ED5B-4FF6-AC11-C64CBCCC3080}" type="pres">
      <dgm:prSet presAssocID="{2950704D-F612-46DF-93DB-38562274CE0A}" presName="accent_4" presStyleCnt="0"/>
      <dgm:spPr/>
    </dgm:pt>
    <dgm:pt modelId="{0692BF8D-B063-4580-8A2D-225A14481CCD}" type="pres">
      <dgm:prSet presAssocID="{2950704D-F612-46DF-93DB-38562274CE0A}" presName="accentRepeatNode" presStyleLbl="solidFgAcc1" presStyleIdx="3" presStyleCnt="6"/>
      <dgm:spPr/>
    </dgm:pt>
    <dgm:pt modelId="{40E805B5-61E0-496D-8348-916A9D159C92}" type="pres">
      <dgm:prSet presAssocID="{445F633E-575C-4AF5-92DD-A71CC7C927A2}" presName="text_5" presStyleLbl="node1" presStyleIdx="4" presStyleCnt="6">
        <dgm:presLayoutVars>
          <dgm:bulletEnabled val="1"/>
        </dgm:presLayoutVars>
      </dgm:prSet>
      <dgm:spPr/>
    </dgm:pt>
    <dgm:pt modelId="{C2C7E345-B783-4EDD-A02C-9F73D6F20217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6"/>
      <dgm:spPr/>
    </dgm:pt>
    <dgm:pt modelId="{3AF69084-E551-402E-95FC-95D83736201C}" type="pres">
      <dgm:prSet presAssocID="{414797EB-74B4-4291-AF3E-06BCA64CF6B6}" presName="text_6" presStyleLbl="node1" presStyleIdx="5" presStyleCnt="6">
        <dgm:presLayoutVars>
          <dgm:bulletEnabled val="1"/>
        </dgm:presLayoutVars>
      </dgm:prSet>
      <dgm:spPr/>
    </dgm:pt>
    <dgm:pt modelId="{F5EF7981-6B08-414D-9727-90B3DCD7F7EA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6"/>
      <dgm:spPr/>
    </dgm:pt>
  </dgm:ptLst>
  <dgm:cxnLst>
    <dgm:cxn modelId="{526ECF28-3CAD-4D93-A271-BA130FC38A40}" srcId="{F010CF21-4A6D-44EF-A02C-3D5169816247}" destId="{B9A48CF8-D428-45D1-8969-FBBF15BE7DBA}" srcOrd="2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7F21A771-B949-4BB4-9FF5-57A450042B3B}" type="presOf" srcId="{414797EB-74B4-4291-AF3E-06BCA64CF6B6}" destId="{3AF69084-E551-402E-95FC-95D83736201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82A827A8-E41C-4524-BA29-EDCADC2E46D9}" type="presOf" srcId="{2950704D-F612-46DF-93DB-38562274CE0A}" destId="{90AFB06F-5233-4B87-9F90-CF49EC1E6031}" srcOrd="0" destOrd="0" presId="urn:microsoft.com/office/officeart/2008/layout/VerticalCurvedList"/>
    <dgm:cxn modelId="{E62432B3-0548-45BE-B135-34FBDCB7F78B}" type="presOf" srcId="{445F633E-575C-4AF5-92DD-A71CC7C927A2}" destId="{40E805B5-61E0-496D-8348-916A9D159C92}" srcOrd="0" destOrd="0" presId="urn:microsoft.com/office/officeart/2008/layout/VerticalCurvedList"/>
    <dgm:cxn modelId="{A3F6F9CC-A017-4180-9E88-CDD61E653699}" type="presOf" srcId="{CDBAD342-69C5-4EB7-8DC1-C435101C223D}" destId="{FC0295C0-CE64-47B5-998E-77C448499C98}" srcOrd="0" destOrd="0" presId="urn:microsoft.com/office/officeart/2008/layout/VerticalCurvedList"/>
    <dgm:cxn modelId="{75BC15D3-E58B-4B5A-AEB7-3CE02EFD8705}" srcId="{F010CF21-4A6D-44EF-A02C-3D5169816247}" destId="{2950704D-F612-46DF-93DB-38562274CE0A}" srcOrd="3" destOrd="0" parTransId="{987F1677-1426-4E16-870E-56D0BC663F9B}" sibTransId="{83820126-CD9B-4B36-913F-47587C72FAFD}"/>
    <dgm:cxn modelId="{A3C563DF-F3FD-4D95-9A53-D91BB5FA6264}" srcId="{F010CF21-4A6D-44EF-A02C-3D5169816247}" destId="{CDBAD342-69C5-4EB7-8DC1-C435101C223D}" srcOrd="1" destOrd="0" parTransId="{2A95C333-A401-4FE4-93B6-8A091C4B2C24}" sibTransId="{4579CE07-19BD-470D-9C30-0F31309F901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A76C8EF8-9FF4-4596-B882-BDBDE5CB0630}" type="presOf" srcId="{B9A48CF8-D428-45D1-8969-FBBF15BE7DBA}" destId="{2A5CEEB8-6E5B-483B-B9F8-75ED22884F54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6EE4501F-DB0F-422F-9178-7ED54BC8EAEE}" type="presParOf" srcId="{43AFC4E7-46DA-4B7B-B201-0A406A05CAD2}" destId="{FC0295C0-CE64-47B5-998E-77C448499C98}" srcOrd="3" destOrd="0" presId="urn:microsoft.com/office/officeart/2008/layout/VerticalCurvedList"/>
    <dgm:cxn modelId="{BF0E5D98-C8B2-4177-8E85-825CF1F6E673}" type="presParOf" srcId="{43AFC4E7-46DA-4B7B-B201-0A406A05CAD2}" destId="{08DEAB1D-53C4-4A2A-BA96-15CA12239B72}" srcOrd="4" destOrd="0" presId="urn:microsoft.com/office/officeart/2008/layout/VerticalCurvedList"/>
    <dgm:cxn modelId="{B9909701-801A-4A6A-9ECB-8B8670497319}" type="presParOf" srcId="{08DEAB1D-53C4-4A2A-BA96-15CA12239B72}" destId="{B866E7F9-E5E7-484B-AB61-13B12708D460}" srcOrd="0" destOrd="0" presId="urn:microsoft.com/office/officeart/2008/layout/VerticalCurvedList"/>
    <dgm:cxn modelId="{71FA8266-6C10-496E-A7A9-B204C3DB586C}" type="presParOf" srcId="{43AFC4E7-46DA-4B7B-B201-0A406A05CAD2}" destId="{2A5CEEB8-6E5B-483B-B9F8-75ED22884F54}" srcOrd="5" destOrd="0" presId="urn:microsoft.com/office/officeart/2008/layout/VerticalCurvedList"/>
    <dgm:cxn modelId="{36958FC1-568D-4CA0-926F-39FA991C19F2}" type="presParOf" srcId="{43AFC4E7-46DA-4B7B-B201-0A406A05CAD2}" destId="{84CA3009-D7FB-4254-8CD8-894C008D9E34}" srcOrd="6" destOrd="0" presId="urn:microsoft.com/office/officeart/2008/layout/VerticalCurvedList"/>
    <dgm:cxn modelId="{1D5C8608-C4A3-4235-A4F1-19F4EDEEE90E}" type="presParOf" srcId="{84CA3009-D7FB-4254-8CD8-894C008D9E34}" destId="{7A113706-4115-4E46-A0DB-BB2E4C947383}" srcOrd="0" destOrd="0" presId="urn:microsoft.com/office/officeart/2008/layout/VerticalCurvedList"/>
    <dgm:cxn modelId="{80D7A1F2-83EF-4494-85CC-1C6C55ADACB5}" type="presParOf" srcId="{43AFC4E7-46DA-4B7B-B201-0A406A05CAD2}" destId="{90AFB06F-5233-4B87-9F90-CF49EC1E6031}" srcOrd="7" destOrd="0" presId="urn:microsoft.com/office/officeart/2008/layout/VerticalCurvedList"/>
    <dgm:cxn modelId="{BE0F58EC-954A-4DCA-A002-0BA9FD94D319}" type="presParOf" srcId="{43AFC4E7-46DA-4B7B-B201-0A406A05CAD2}" destId="{2FA75C2A-ED5B-4FF6-AC11-C64CBCCC3080}" srcOrd="8" destOrd="0" presId="urn:microsoft.com/office/officeart/2008/layout/VerticalCurvedList"/>
    <dgm:cxn modelId="{FF5DBD0A-CD15-4C69-B11E-ED7B82845063}" type="presParOf" srcId="{2FA75C2A-ED5B-4FF6-AC11-C64CBCCC3080}" destId="{0692BF8D-B063-4580-8A2D-225A14481CCD}" srcOrd="0" destOrd="0" presId="urn:microsoft.com/office/officeart/2008/layout/VerticalCurvedList"/>
    <dgm:cxn modelId="{05DC1C0B-BC3E-4225-96AA-E6F35DFF0D16}" type="presParOf" srcId="{43AFC4E7-46DA-4B7B-B201-0A406A05CAD2}" destId="{40E805B5-61E0-496D-8348-916A9D159C92}" srcOrd="9" destOrd="0" presId="urn:microsoft.com/office/officeart/2008/layout/VerticalCurvedList"/>
    <dgm:cxn modelId="{C0B32528-91D6-4A03-AB7E-4CDD68FC1EE6}" type="presParOf" srcId="{43AFC4E7-46DA-4B7B-B201-0A406A05CAD2}" destId="{C2C7E345-B783-4EDD-A02C-9F73D6F20217}" srcOrd="10" destOrd="0" presId="urn:microsoft.com/office/officeart/2008/layout/VerticalCurvedList"/>
    <dgm:cxn modelId="{3A7E6B34-84A7-4442-AAA9-C16A31B1048C}" type="presParOf" srcId="{C2C7E345-B783-4EDD-A02C-9F73D6F20217}" destId="{1CAC461D-769E-43F1-85D8-A86E37EE9368}" srcOrd="0" destOrd="0" presId="urn:microsoft.com/office/officeart/2008/layout/VerticalCurvedList"/>
    <dgm:cxn modelId="{9DDDF2F1-EE99-47B0-99E2-0A7310BF3326}" type="presParOf" srcId="{43AFC4E7-46DA-4B7B-B201-0A406A05CAD2}" destId="{3AF69084-E551-402E-95FC-95D83736201C}" srcOrd="11" destOrd="0" presId="urn:microsoft.com/office/officeart/2008/layout/VerticalCurvedList"/>
    <dgm:cxn modelId="{AC345CA3-393D-4031-A75D-3FAD35A5D78D}" type="presParOf" srcId="{43AFC4E7-46DA-4B7B-B201-0A406A05CAD2}" destId="{F5EF7981-6B08-414D-9727-90B3DCD7F7EA}" srcOrd="12" destOrd="0" presId="urn:microsoft.com/office/officeart/2008/layout/VerticalCurvedList"/>
    <dgm:cxn modelId="{6023ABD4-9DE6-45A4-8C3B-D3EA8D33F04F}" type="presParOf" srcId="{F5EF7981-6B08-414D-9727-90B3DCD7F7EA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AD27D72-3829-45AF-BB03-3F81F882932E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21FE2B9-2D58-48B8-A140-1E34A9DDF469}">
      <dgm:prSet phldrT="[Texte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Définition du PROJET du CLUB</a:t>
          </a:r>
        </a:p>
      </dgm:t>
    </dgm:pt>
    <dgm:pt modelId="{B460F42D-BC1D-4206-9EC3-C90729837581}" type="parTrans" cxnId="{48CD964A-4992-47F5-8D3D-A2047BFE14F3}">
      <dgm:prSet/>
      <dgm:spPr/>
      <dgm:t>
        <a:bodyPr/>
        <a:lstStyle/>
        <a:p>
          <a:endParaRPr lang="fr-FR"/>
        </a:p>
      </dgm:t>
    </dgm:pt>
    <dgm:pt modelId="{35EF778C-B036-4853-AA6A-6BD4C6E1490B}" type="sibTrans" cxnId="{48CD964A-4992-47F5-8D3D-A2047BFE14F3}">
      <dgm:prSet/>
      <dgm:spPr/>
      <dgm:t>
        <a:bodyPr/>
        <a:lstStyle/>
        <a:p>
          <a:endParaRPr lang="fr-FR"/>
        </a:p>
      </dgm:t>
    </dgm:pt>
    <dgm:pt modelId="{EA7B24A3-8DF3-4E2C-84FE-D7C4D2E40D4E}">
      <dgm:prSet phldrT="[Texte]" custT="1"/>
      <dgm:spPr>
        <a:solidFill>
          <a:schemeClr val="accent6"/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Assurer son fonctionnement</a:t>
          </a:r>
        </a:p>
      </dgm:t>
    </dgm:pt>
    <dgm:pt modelId="{765801C8-1113-4978-B7A8-B4E08F471BB1}" type="parTrans" cxnId="{968B8520-0C94-4C73-A22A-CF22F66D9E46}">
      <dgm:prSet/>
      <dgm:spPr/>
      <dgm:t>
        <a:bodyPr/>
        <a:lstStyle/>
        <a:p>
          <a:endParaRPr lang="fr-FR"/>
        </a:p>
      </dgm:t>
    </dgm:pt>
    <dgm:pt modelId="{EA620D6D-0D42-4589-8070-9081637308CD}" type="sibTrans" cxnId="{968B8520-0C94-4C73-A22A-CF22F66D9E46}">
      <dgm:prSet/>
      <dgm:spPr/>
      <dgm:t>
        <a:bodyPr/>
        <a:lstStyle/>
        <a:p>
          <a:endParaRPr lang="fr-FR"/>
        </a:p>
      </dgm:t>
    </dgm:pt>
    <dgm:pt modelId="{6EAE6A61-DBC0-4FC7-8181-A195940B9833}">
      <dgm:prSet phldrT="[Texte]" custT="1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Statuts, durée des mandats et modalités d’élection</a:t>
          </a:r>
        </a:p>
      </dgm:t>
    </dgm:pt>
    <dgm:pt modelId="{DD755913-3F2C-46EF-8272-D4BF8374020F}" type="parTrans" cxnId="{722A064A-AEE8-4F0E-B8CF-A96CD52D54C6}">
      <dgm:prSet/>
      <dgm:spPr/>
      <dgm:t>
        <a:bodyPr/>
        <a:lstStyle/>
        <a:p>
          <a:endParaRPr lang="fr-FR"/>
        </a:p>
      </dgm:t>
    </dgm:pt>
    <dgm:pt modelId="{E74147C4-B1CB-4103-8AFC-6A04CA07238D}" type="sibTrans" cxnId="{722A064A-AEE8-4F0E-B8CF-A96CD52D54C6}">
      <dgm:prSet/>
      <dgm:spPr/>
      <dgm:t>
        <a:bodyPr/>
        <a:lstStyle/>
        <a:p>
          <a:endParaRPr lang="fr-FR"/>
        </a:p>
      </dgm:t>
    </dgm:pt>
    <dgm:pt modelId="{ADFAE770-68E5-47AA-97AD-DFECA5B7B925}">
      <dgm:prSet phldrT="[Texte]" custT="1"/>
      <dgm:spPr>
        <a:solidFill>
          <a:schemeClr val="accent3"/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Election du Bureau</a:t>
          </a:r>
        </a:p>
      </dgm:t>
    </dgm:pt>
    <dgm:pt modelId="{25786334-502C-4977-BED2-76BDF40D52B6}" type="parTrans" cxnId="{35B8DCD5-57FD-4A9F-8704-6ACA496F3C7C}">
      <dgm:prSet/>
      <dgm:spPr/>
      <dgm:t>
        <a:bodyPr/>
        <a:lstStyle/>
        <a:p>
          <a:endParaRPr lang="fr-FR"/>
        </a:p>
      </dgm:t>
    </dgm:pt>
    <dgm:pt modelId="{2EB00217-0965-4E21-A599-E7506288C99D}" type="sibTrans" cxnId="{35B8DCD5-57FD-4A9F-8704-6ACA496F3C7C}">
      <dgm:prSet/>
      <dgm:spPr/>
      <dgm:t>
        <a:bodyPr/>
        <a:lstStyle/>
        <a:p>
          <a:endParaRPr lang="fr-FR"/>
        </a:p>
      </dgm:t>
    </dgm:pt>
    <dgm:pt modelId="{D7613D59-1C1B-4E4B-B4F6-8776D14423DF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Missions  administrateurs</a:t>
          </a:r>
        </a:p>
      </dgm:t>
    </dgm:pt>
    <dgm:pt modelId="{A18A0C20-73D3-45D0-B271-66EED99DD3C9}" type="parTrans" cxnId="{F25F8AA8-7558-4C65-9A94-C3AA2897CD61}">
      <dgm:prSet/>
      <dgm:spPr/>
      <dgm:t>
        <a:bodyPr/>
        <a:lstStyle/>
        <a:p>
          <a:endParaRPr lang="fr-FR"/>
        </a:p>
      </dgm:t>
    </dgm:pt>
    <dgm:pt modelId="{92E8B0A6-262A-4BFB-BA24-4AE1557F8E3F}" type="sibTrans" cxnId="{F25F8AA8-7558-4C65-9A94-C3AA2897CD61}">
      <dgm:prSet/>
      <dgm:spPr/>
      <dgm:t>
        <a:bodyPr/>
        <a:lstStyle/>
        <a:p>
          <a:endParaRPr lang="fr-FR"/>
        </a:p>
      </dgm:t>
    </dgm:pt>
    <dgm:pt modelId="{40C96553-284E-44B6-9367-F204A63E2DE6}" type="pres">
      <dgm:prSet presAssocID="{6AD27D72-3829-45AF-BB03-3F81F882932E}" presName="cycle" presStyleCnt="0">
        <dgm:presLayoutVars>
          <dgm:dir/>
          <dgm:resizeHandles val="exact"/>
        </dgm:presLayoutVars>
      </dgm:prSet>
      <dgm:spPr/>
    </dgm:pt>
    <dgm:pt modelId="{E4645F58-E25A-40CE-90DE-4A787FC23356}" type="pres">
      <dgm:prSet presAssocID="{A21FE2B9-2D58-48B8-A140-1E34A9DDF469}" presName="node" presStyleLbl="node1" presStyleIdx="0" presStyleCnt="5">
        <dgm:presLayoutVars>
          <dgm:bulletEnabled val="1"/>
        </dgm:presLayoutVars>
      </dgm:prSet>
      <dgm:spPr/>
    </dgm:pt>
    <dgm:pt modelId="{44A0579E-957D-479D-BE8C-4971B24D8C4C}" type="pres">
      <dgm:prSet presAssocID="{A21FE2B9-2D58-48B8-A140-1E34A9DDF469}" presName="spNode" presStyleCnt="0"/>
      <dgm:spPr/>
    </dgm:pt>
    <dgm:pt modelId="{DC6CD9BB-6173-476D-B7E5-430CD1C20B2F}" type="pres">
      <dgm:prSet presAssocID="{35EF778C-B036-4853-AA6A-6BD4C6E1490B}" presName="sibTrans" presStyleLbl="sibTrans1D1" presStyleIdx="0" presStyleCnt="5"/>
      <dgm:spPr/>
    </dgm:pt>
    <dgm:pt modelId="{2C00256A-D329-438C-99F3-DAF3F213D4D1}" type="pres">
      <dgm:prSet presAssocID="{EA7B24A3-8DF3-4E2C-84FE-D7C4D2E40D4E}" presName="node" presStyleLbl="node1" presStyleIdx="1" presStyleCnt="5">
        <dgm:presLayoutVars>
          <dgm:bulletEnabled val="1"/>
        </dgm:presLayoutVars>
      </dgm:prSet>
      <dgm:spPr/>
    </dgm:pt>
    <dgm:pt modelId="{B9172D1B-2447-41A2-968A-6F62D8037A9F}" type="pres">
      <dgm:prSet presAssocID="{EA7B24A3-8DF3-4E2C-84FE-D7C4D2E40D4E}" presName="spNode" presStyleCnt="0"/>
      <dgm:spPr/>
    </dgm:pt>
    <dgm:pt modelId="{BE629CD8-E73C-40BD-BBCD-F3A70ACF1683}" type="pres">
      <dgm:prSet presAssocID="{EA620D6D-0D42-4589-8070-9081637308CD}" presName="sibTrans" presStyleLbl="sibTrans1D1" presStyleIdx="1" presStyleCnt="5"/>
      <dgm:spPr/>
    </dgm:pt>
    <dgm:pt modelId="{85EE52B4-AF43-4982-BEDA-233FFC9726C4}" type="pres">
      <dgm:prSet presAssocID="{6EAE6A61-DBC0-4FC7-8181-A195940B9833}" presName="node" presStyleLbl="node1" presStyleIdx="2" presStyleCnt="5">
        <dgm:presLayoutVars>
          <dgm:bulletEnabled val="1"/>
        </dgm:presLayoutVars>
      </dgm:prSet>
      <dgm:spPr/>
    </dgm:pt>
    <dgm:pt modelId="{FF569DA7-7C34-4895-9CA5-5801490A676F}" type="pres">
      <dgm:prSet presAssocID="{6EAE6A61-DBC0-4FC7-8181-A195940B9833}" presName="spNode" presStyleCnt="0"/>
      <dgm:spPr/>
    </dgm:pt>
    <dgm:pt modelId="{EED813DF-4BE7-46A8-BCCB-57EF9B6C306F}" type="pres">
      <dgm:prSet presAssocID="{E74147C4-B1CB-4103-8AFC-6A04CA07238D}" presName="sibTrans" presStyleLbl="sibTrans1D1" presStyleIdx="2" presStyleCnt="5"/>
      <dgm:spPr/>
    </dgm:pt>
    <dgm:pt modelId="{33A33D78-0EB7-4048-A609-51623BB40C12}" type="pres">
      <dgm:prSet presAssocID="{ADFAE770-68E5-47AA-97AD-DFECA5B7B925}" presName="node" presStyleLbl="node1" presStyleIdx="3" presStyleCnt="5">
        <dgm:presLayoutVars>
          <dgm:bulletEnabled val="1"/>
        </dgm:presLayoutVars>
      </dgm:prSet>
      <dgm:spPr/>
    </dgm:pt>
    <dgm:pt modelId="{9183F2C0-5D68-4D65-B1FD-8F5B4BDC27EA}" type="pres">
      <dgm:prSet presAssocID="{ADFAE770-68E5-47AA-97AD-DFECA5B7B925}" presName="spNode" presStyleCnt="0"/>
      <dgm:spPr/>
    </dgm:pt>
    <dgm:pt modelId="{04F5F2B0-4C1F-4972-AF12-91A7442DCD3A}" type="pres">
      <dgm:prSet presAssocID="{2EB00217-0965-4E21-A599-E7506288C99D}" presName="sibTrans" presStyleLbl="sibTrans1D1" presStyleIdx="3" presStyleCnt="5"/>
      <dgm:spPr/>
    </dgm:pt>
    <dgm:pt modelId="{B8DDB7DB-4610-4267-87D6-A5EFC75749F0}" type="pres">
      <dgm:prSet presAssocID="{D7613D59-1C1B-4E4B-B4F6-8776D14423DF}" presName="node" presStyleLbl="node1" presStyleIdx="4" presStyleCnt="5">
        <dgm:presLayoutVars>
          <dgm:bulletEnabled val="1"/>
        </dgm:presLayoutVars>
      </dgm:prSet>
      <dgm:spPr/>
    </dgm:pt>
    <dgm:pt modelId="{B310EC08-9EE7-4E50-8B42-EBF34AEB6CDC}" type="pres">
      <dgm:prSet presAssocID="{D7613D59-1C1B-4E4B-B4F6-8776D14423DF}" presName="spNode" presStyleCnt="0"/>
      <dgm:spPr/>
    </dgm:pt>
    <dgm:pt modelId="{77814920-2F7E-40C6-B8EC-F972BD29F095}" type="pres">
      <dgm:prSet presAssocID="{92E8B0A6-262A-4BFB-BA24-4AE1557F8E3F}" presName="sibTrans" presStyleLbl="sibTrans1D1" presStyleIdx="4" presStyleCnt="5"/>
      <dgm:spPr/>
    </dgm:pt>
  </dgm:ptLst>
  <dgm:cxnLst>
    <dgm:cxn modelId="{7708EE01-7541-4746-92A5-FCACFFC3C2B2}" type="presOf" srcId="{D7613D59-1C1B-4E4B-B4F6-8776D14423DF}" destId="{B8DDB7DB-4610-4267-87D6-A5EFC75749F0}" srcOrd="0" destOrd="0" presId="urn:microsoft.com/office/officeart/2005/8/layout/cycle6"/>
    <dgm:cxn modelId="{FBC2930B-F68F-45C3-9773-AB63B45BFBB6}" type="presOf" srcId="{6AD27D72-3829-45AF-BB03-3F81F882932E}" destId="{40C96553-284E-44B6-9367-F204A63E2DE6}" srcOrd="0" destOrd="0" presId="urn:microsoft.com/office/officeart/2005/8/layout/cycle6"/>
    <dgm:cxn modelId="{BD097714-4999-4B71-B796-515CF90E6059}" type="presOf" srcId="{E74147C4-B1CB-4103-8AFC-6A04CA07238D}" destId="{EED813DF-4BE7-46A8-BCCB-57EF9B6C306F}" srcOrd="0" destOrd="0" presId="urn:microsoft.com/office/officeart/2005/8/layout/cycle6"/>
    <dgm:cxn modelId="{D11ED71B-080E-4D73-A5C6-E668A96A3829}" type="presOf" srcId="{6EAE6A61-DBC0-4FC7-8181-A195940B9833}" destId="{85EE52B4-AF43-4982-BEDA-233FFC9726C4}" srcOrd="0" destOrd="0" presId="urn:microsoft.com/office/officeart/2005/8/layout/cycle6"/>
    <dgm:cxn modelId="{968B8520-0C94-4C73-A22A-CF22F66D9E46}" srcId="{6AD27D72-3829-45AF-BB03-3F81F882932E}" destId="{EA7B24A3-8DF3-4E2C-84FE-D7C4D2E40D4E}" srcOrd="1" destOrd="0" parTransId="{765801C8-1113-4978-B7A8-B4E08F471BB1}" sibTransId="{EA620D6D-0D42-4589-8070-9081637308CD}"/>
    <dgm:cxn modelId="{E1F5D234-E925-43D9-8FF6-5A852A630900}" type="presOf" srcId="{35EF778C-B036-4853-AA6A-6BD4C6E1490B}" destId="{DC6CD9BB-6173-476D-B7E5-430CD1C20B2F}" srcOrd="0" destOrd="0" presId="urn:microsoft.com/office/officeart/2005/8/layout/cycle6"/>
    <dgm:cxn modelId="{0361A040-1FFA-44C4-BABB-72EE54C6AFA5}" type="presOf" srcId="{EA620D6D-0D42-4589-8070-9081637308CD}" destId="{BE629CD8-E73C-40BD-BBCD-F3A70ACF1683}" srcOrd="0" destOrd="0" presId="urn:microsoft.com/office/officeart/2005/8/layout/cycle6"/>
    <dgm:cxn modelId="{722A064A-AEE8-4F0E-B8CF-A96CD52D54C6}" srcId="{6AD27D72-3829-45AF-BB03-3F81F882932E}" destId="{6EAE6A61-DBC0-4FC7-8181-A195940B9833}" srcOrd="2" destOrd="0" parTransId="{DD755913-3F2C-46EF-8272-D4BF8374020F}" sibTransId="{E74147C4-B1CB-4103-8AFC-6A04CA07238D}"/>
    <dgm:cxn modelId="{48CD964A-4992-47F5-8D3D-A2047BFE14F3}" srcId="{6AD27D72-3829-45AF-BB03-3F81F882932E}" destId="{A21FE2B9-2D58-48B8-A140-1E34A9DDF469}" srcOrd="0" destOrd="0" parTransId="{B460F42D-BC1D-4206-9EC3-C90729837581}" sibTransId="{35EF778C-B036-4853-AA6A-6BD4C6E1490B}"/>
    <dgm:cxn modelId="{F113514D-2385-4287-B36F-EA6781446166}" type="presOf" srcId="{A21FE2B9-2D58-48B8-A140-1E34A9DDF469}" destId="{E4645F58-E25A-40CE-90DE-4A787FC23356}" srcOrd="0" destOrd="0" presId="urn:microsoft.com/office/officeart/2005/8/layout/cycle6"/>
    <dgm:cxn modelId="{0BD5A3A4-6A0D-4708-941E-91C6757197D4}" type="presOf" srcId="{2EB00217-0965-4E21-A599-E7506288C99D}" destId="{04F5F2B0-4C1F-4972-AF12-91A7442DCD3A}" srcOrd="0" destOrd="0" presId="urn:microsoft.com/office/officeart/2005/8/layout/cycle6"/>
    <dgm:cxn modelId="{F25F8AA8-7558-4C65-9A94-C3AA2897CD61}" srcId="{6AD27D72-3829-45AF-BB03-3F81F882932E}" destId="{D7613D59-1C1B-4E4B-B4F6-8776D14423DF}" srcOrd="4" destOrd="0" parTransId="{A18A0C20-73D3-45D0-B271-66EED99DD3C9}" sibTransId="{92E8B0A6-262A-4BFB-BA24-4AE1557F8E3F}"/>
    <dgm:cxn modelId="{35B8DCD5-57FD-4A9F-8704-6ACA496F3C7C}" srcId="{6AD27D72-3829-45AF-BB03-3F81F882932E}" destId="{ADFAE770-68E5-47AA-97AD-DFECA5B7B925}" srcOrd="3" destOrd="0" parTransId="{25786334-502C-4977-BED2-76BDF40D52B6}" sibTransId="{2EB00217-0965-4E21-A599-E7506288C99D}"/>
    <dgm:cxn modelId="{E3DCAFE5-E7C7-4494-BA56-00903898C8F5}" type="presOf" srcId="{EA7B24A3-8DF3-4E2C-84FE-D7C4D2E40D4E}" destId="{2C00256A-D329-438C-99F3-DAF3F213D4D1}" srcOrd="0" destOrd="0" presId="urn:microsoft.com/office/officeart/2005/8/layout/cycle6"/>
    <dgm:cxn modelId="{E3600DEF-E025-491B-B1C1-5024273F7F76}" type="presOf" srcId="{ADFAE770-68E5-47AA-97AD-DFECA5B7B925}" destId="{33A33D78-0EB7-4048-A609-51623BB40C12}" srcOrd="0" destOrd="0" presId="urn:microsoft.com/office/officeart/2005/8/layout/cycle6"/>
    <dgm:cxn modelId="{F0D631F9-AFF3-4183-A9B9-73BEE769868F}" type="presOf" srcId="{92E8B0A6-262A-4BFB-BA24-4AE1557F8E3F}" destId="{77814920-2F7E-40C6-B8EC-F972BD29F095}" srcOrd="0" destOrd="0" presId="urn:microsoft.com/office/officeart/2005/8/layout/cycle6"/>
    <dgm:cxn modelId="{6DE760BF-35A3-44A2-A79E-479F82C8FC4A}" type="presParOf" srcId="{40C96553-284E-44B6-9367-F204A63E2DE6}" destId="{E4645F58-E25A-40CE-90DE-4A787FC23356}" srcOrd="0" destOrd="0" presId="urn:microsoft.com/office/officeart/2005/8/layout/cycle6"/>
    <dgm:cxn modelId="{4505D0E0-CAA7-4BF1-B260-49409AC76096}" type="presParOf" srcId="{40C96553-284E-44B6-9367-F204A63E2DE6}" destId="{44A0579E-957D-479D-BE8C-4971B24D8C4C}" srcOrd="1" destOrd="0" presId="urn:microsoft.com/office/officeart/2005/8/layout/cycle6"/>
    <dgm:cxn modelId="{68B1FA8C-4D0F-4C19-AAB8-861D1CB39DD2}" type="presParOf" srcId="{40C96553-284E-44B6-9367-F204A63E2DE6}" destId="{DC6CD9BB-6173-476D-B7E5-430CD1C20B2F}" srcOrd="2" destOrd="0" presId="urn:microsoft.com/office/officeart/2005/8/layout/cycle6"/>
    <dgm:cxn modelId="{8207D245-B637-4206-B51E-6088BD2DC302}" type="presParOf" srcId="{40C96553-284E-44B6-9367-F204A63E2DE6}" destId="{2C00256A-D329-438C-99F3-DAF3F213D4D1}" srcOrd="3" destOrd="0" presId="urn:microsoft.com/office/officeart/2005/8/layout/cycle6"/>
    <dgm:cxn modelId="{8504684E-44FF-4196-935B-3DFA967B2EE5}" type="presParOf" srcId="{40C96553-284E-44B6-9367-F204A63E2DE6}" destId="{B9172D1B-2447-41A2-968A-6F62D8037A9F}" srcOrd="4" destOrd="0" presId="urn:microsoft.com/office/officeart/2005/8/layout/cycle6"/>
    <dgm:cxn modelId="{37364D40-B895-4FE1-8C36-BBF55B459718}" type="presParOf" srcId="{40C96553-284E-44B6-9367-F204A63E2DE6}" destId="{BE629CD8-E73C-40BD-BBCD-F3A70ACF1683}" srcOrd="5" destOrd="0" presId="urn:microsoft.com/office/officeart/2005/8/layout/cycle6"/>
    <dgm:cxn modelId="{98C03F8F-B43D-44F2-A19E-205FCAD818B0}" type="presParOf" srcId="{40C96553-284E-44B6-9367-F204A63E2DE6}" destId="{85EE52B4-AF43-4982-BEDA-233FFC9726C4}" srcOrd="6" destOrd="0" presId="urn:microsoft.com/office/officeart/2005/8/layout/cycle6"/>
    <dgm:cxn modelId="{D8DFECF1-AE3B-4A29-9B62-6A0A4BB2373A}" type="presParOf" srcId="{40C96553-284E-44B6-9367-F204A63E2DE6}" destId="{FF569DA7-7C34-4895-9CA5-5801490A676F}" srcOrd="7" destOrd="0" presId="urn:microsoft.com/office/officeart/2005/8/layout/cycle6"/>
    <dgm:cxn modelId="{5B02E302-494E-48D8-85E9-80535B968431}" type="presParOf" srcId="{40C96553-284E-44B6-9367-F204A63E2DE6}" destId="{EED813DF-4BE7-46A8-BCCB-57EF9B6C306F}" srcOrd="8" destOrd="0" presId="urn:microsoft.com/office/officeart/2005/8/layout/cycle6"/>
    <dgm:cxn modelId="{0041EF5D-D2C8-49AA-8C95-861CF00ECE4F}" type="presParOf" srcId="{40C96553-284E-44B6-9367-F204A63E2DE6}" destId="{33A33D78-0EB7-4048-A609-51623BB40C12}" srcOrd="9" destOrd="0" presId="urn:microsoft.com/office/officeart/2005/8/layout/cycle6"/>
    <dgm:cxn modelId="{C60DC7D8-9E36-4E59-8698-FF55D4BAF5D0}" type="presParOf" srcId="{40C96553-284E-44B6-9367-F204A63E2DE6}" destId="{9183F2C0-5D68-4D65-B1FD-8F5B4BDC27EA}" srcOrd="10" destOrd="0" presId="urn:microsoft.com/office/officeart/2005/8/layout/cycle6"/>
    <dgm:cxn modelId="{031AFD32-2DC5-4CE0-8D22-5EB60272D5A4}" type="presParOf" srcId="{40C96553-284E-44B6-9367-F204A63E2DE6}" destId="{04F5F2B0-4C1F-4972-AF12-91A7442DCD3A}" srcOrd="11" destOrd="0" presId="urn:microsoft.com/office/officeart/2005/8/layout/cycle6"/>
    <dgm:cxn modelId="{3B281A7B-C014-4283-A9D6-AA2E0A314ECA}" type="presParOf" srcId="{40C96553-284E-44B6-9367-F204A63E2DE6}" destId="{B8DDB7DB-4610-4267-87D6-A5EFC75749F0}" srcOrd="12" destOrd="0" presId="urn:microsoft.com/office/officeart/2005/8/layout/cycle6"/>
    <dgm:cxn modelId="{18ADE9AC-419E-42A0-A368-F1A84024AA17}" type="presParOf" srcId="{40C96553-284E-44B6-9367-F204A63E2DE6}" destId="{B310EC08-9EE7-4E50-8B42-EBF34AEB6CDC}" srcOrd="13" destOrd="0" presId="urn:microsoft.com/office/officeart/2005/8/layout/cycle6"/>
    <dgm:cxn modelId="{93F0111F-5B58-4E67-A3B4-9AB9F2459128}" type="presParOf" srcId="{40C96553-284E-44B6-9367-F204A63E2DE6}" destId="{77814920-2F7E-40C6-B8EC-F972BD29F095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19-2020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0-2021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CDBAD342-69C5-4EB7-8DC1-C435101C223D}">
      <dgm:prSet phldrT="[Texte]" custT="1"/>
      <dgm:spPr/>
      <dgm:t>
        <a:bodyPr/>
        <a:lstStyle/>
        <a:p>
          <a:r>
            <a:rPr lang="fr-FR" sz="2000" dirty="0"/>
            <a:t>Point sur la situation sanitaire actuelle </a:t>
          </a:r>
        </a:p>
      </dgm:t>
    </dgm:pt>
    <dgm:pt modelId="{2A95C333-A401-4FE4-93B6-8A091C4B2C24}" type="parTrans" cxnId="{A3C563DF-F3FD-4D95-9A53-D91BB5FA6264}">
      <dgm:prSet/>
      <dgm:spPr/>
      <dgm:t>
        <a:bodyPr/>
        <a:lstStyle/>
        <a:p>
          <a:endParaRPr lang="fr-FR"/>
        </a:p>
      </dgm:t>
    </dgm:pt>
    <dgm:pt modelId="{4579CE07-19BD-470D-9C30-0F31309F901C}" type="sibTrans" cxnId="{A3C563DF-F3FD-4D95-9A53-D91BB5FA626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6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6"/>
      <dgm:spPr/>
    </dgm:pt>
    <dgm:pt modelId="{4485BF69-EF87-4AEE-AFDF-DE2F8D2ACCD9}" type="pres">
      <dgm:prSet presAssocID="{F010CF21-4A6D-44EF-A02C-3D5169816247}" presName="dstNode" presStyleLbl="node1" presStyleIdx="0" presStyleCnt="6"/>
      <dgm:spPr/>
    </dgm:pt>
    <dgm:pt modelId="{54C74578-773C-4297-A4DE-1398F67BB91C}" type="pres">
      <dgm:prSet presAssocID="{59788018-3182-43A3-8988-94BE0745A02A}" presName="text_1" presStyleLbl="node1" presStyleIdx="0" presStyleCnt="6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6"/>
      <dgm:spPr/>
    </dgm:pt>
    <dgm:pt modelId="{FC0295C0-CE64-47B5-998E-77C448499C98}" type="pres">
      <dgm:prSet presAssocID="{CDBAD342-69C5-4EB7-8DC1-C435101C223D}" presName="text_2" presStyleLbl="node1" presStyleIdx="1" presStyleCnt="6">
        <dgm:presLayoutVars>
          <dgm:bulletEnabled val="1"/>
        </dgm:presLayoutVars>
      </dgm:prSet>
      <dgm:spPr/>
    </dgm:pt>
    <dgm:pt modelId="{08DEAB1D-53C4-4A2A-BA96-15CA12239B72}" type="pres">
      <dgm:prSet presAssocID="{CDBAD342-69C5-4EB7-8DC1-C435101C223D}" presName="accent_2" presStyleCnt="0"/>
      <dgm:spPr/>
    </dgm:pt>
    <dgm:pt modelId="{B866E7F9-E5E7-484B-AB61-13B12708D460}" type="pres">
      <dgm:prSet presAssocID="{CDBAD342-69C5-4EB7-8DC1-C435101C223D}" presName="accentRepeatNode" presStyleLbl="solidFgAcc1" presStyleIdx="1" presStyleCnt="6"/>
      <dgm:spPr/>
    </dgm:pt>
    <dgm:pt modelId="{2A5CEEB8-6E5B-483B-B9F8-75ED22884F54}" type="pres">
      <dgm:prSet presAssocID="{B9A48CF8-D428-45D1-8969-FBBF15BE7DBA}" presName="text_3" presStyleLbl="node1" presStyleIdx="2" presStyleCnt="6">
        <dgm:presLayoutVars>
          <dgm:bulletEnabled val="1"/>
        </dgm:presLayoutVars>
      </dgm:prSet>
      <dgm:spPr/>
    </dgm:pt>
    <dgm:pt modelId="{84CA3009-D7FB-4254-8CD8-894C008D9E34}" type="pres">
      <dgm:prSet presAssocID="{B9A48CF8-D428-45D1-8969-FBBF15BE7DBA}" presName="accent_3" presStyleCnt="0"/>
      <dgm:spPr/>
    </dgm:pt>
    <dgm:pt modelId="{7A113706-4115-4E46-A0DB-BB2E4C947383}" type="pres">
      <dgm:prSet presAssocID="{B9A48CF8-D428-45D1-8969-FBBF15BE7DBA}" presName="accentRepeatNode" presStyleLbl="solidFgAcc1" presStyleIdx="2" presStyleCnt="6"/>
      <dgm:spPr/>
    </dgm:pt>
    <dgm:pt modelId="{90AFB06F-5233-4B87-9F90-CF49EC1E6031}" type="pres">
      <dgm:prSet presAssocID="{2950704D-F612-46DF-93DB-38562274CE0A}" presName="text_4" presStyleLbl="node1" presStyleIdx="3" presStyleCnt="6">
        <dgm:presLayoutVars>
          <dgm:bulletEnabled val="1"/>
        </dgm:presLayoutVars>
      </dgm:prSet>
      <dgm:spPr/>
    </dgm:pt>
    <dgm:pt modelId="{2FA75C2A-ED5B-4FF6-AC11-C64CBCCC3080}" type="pres">
      <dgm:prSet presAssocID="{2950704D-F612-46DF-93DB-38562274CE0A}" presName="accent_4" presStyleCnt="0"/>
      <dgm:spPr/>
    </dgm:pt>
    <dgm:pt modelId="{0692BF8D-B063-4580-8A2D-225A14481CCD}" type="pres">
      <dgm:prSet presAssocID="{2950704D-F612-46DF-93DB-38562274CE0A}" presName="accentRepeatNode" presStyleLbl="solidFgAcc1" presStyleIdx="3" presStyleCnt="6"/>
      <dgm:spPr/>
    </dgm:pt>
    <dgm:pt modelId="{40E805B5-61E0-496D-8348-916A9D159C92}" type="pres">
      <dgm:prSet presAssocID="{445F633E-575C-4AF5-92DD-A71CC7C927A2}" presName="text_5" presStyleLbl="node1" presStyleIdx="4" presStyleCnt="6">
        <dgm:presLayoutVars>
          <dgm:bulletEnabled val="1"/>
        </dgm:presLayoutVars>
      </dgm:prSet>
      <dgm:spPr/>
    </dgm:pt>
    <dgm:pt modelId="{C2C7E345-B783-4EDD-A02C-9F73D6F20217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6"/>
      <dgm:spPr/>
    </dgm:pt>
    <dgm:pt modelId="{3AF69084-E551-402E-95FC-95D83736201C}" type="pres">
      <dgm:prSet presAssocID="{414797EB-74B4-4291-AF3E-06BCA64CF6B6}" presName="text_6" presStyleLbl="node1" presStyleIdx="5" presStyleCnt="6">
        <dgm:presLayoutVars>
          <dgm:bulletEnabled val="1"/>
        </dgm:presLayoutVars>
      </dgm:prSet>
      <dgm:spPr/>
    </dgm:pt>
    <dgm:pt modelId="{F5EF7981-6B08-414D-9727-90B3DCD7F7EA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6"/>
      <dgm:spPr/>
    </dgm:pt>
  </dgm:ptLst>
  <dgm:cxnLst>
    <dgm:cxn modelId="{526ECF28-3CAD-4D93-A271-BA130FC38A40}" srcId="{F010CF21-4A6D-44EF-A02C-3D5169816247}" destId="{B9A48CF8-D428-45D1-8969-FBBF15BE7DBA}" srcOrd="2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7F21A771-B949-4BB4-9FF5-57A450042B3B}" type="presOf" srcId="{414797EB-74B4-4291-AF3E-06BCA64CF6B6}" destId="{3AF69084-E551-402E-95FC-95D83736201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82A827A8-E41C-4524-BA29-EDCADC2E46D9}" type="presOf" srcId="{2950704D-F612-46DF-93DB-38562274CE0A}" destId="{90AFB06F-5233-4B87-9F90-CF49EC1E6031}" srcOrd="0" destOrd="0" presId="urn:microsoft.com/office/officeart/2008/layout/VerticalCurvedList"/>
    <dgm:cxn modelId="{E62432B3-0548-45BE-B135-34FBDCB7F78B}" type="presOf" srcId="{445F633E-575C-4AF5-92DD-A71CC7C927A2}" destId="{40E805B5-61E0-496D-8348-916A9D159C92}" srcOrd="0" destOrd="0" presId="urn:microsoft.com/office/officeart/2008/layout/VerticalCurvedList"/>
    <dgm:cxn modelId="{A3F6F9CC-A017-4180-9E88-CDD61E653699}" type="presOf" srcId="{CDBAD342-69C5-4EB7-8DC1-C435101C223D}" destId="{FC0295C0-CE64-47B5-998E-77C448499C98}" srcOrd="0" destOrd="0" presId="urn:microsoft.com/office/officeart/2008/layout/VerticalCurvedList"/>
    <dgm:cxn modelId="{75BC15D3-E58B-4B5A-AEB7-3CE02EFD8705}" srcId="{F010CF21-4A6D-44EF-A02C-3D5169816247}" destId="{2950704D-F612-46DF-93DB-38562274CE0A}" srcOrd="3" destOrd="0" parTransId="{987F1677-1426-4E16-870E-56D0BC663F9B}" sibTransId="{83820126-CD9B-4B36-913F-47587C72FAFD}"/>
    <dgm:cxn modelId="{A3C563DF-F3FD-4D95-9A53-D91BB5FA6264}" srcId="{F010CF21-4A6D-44EF-A02C-3D5169816247}" destId="{CDBAD342-69C5-4EB7-8DC1-C435101C223D}" srcOrd="1" destOrd="0" parTransId="{2A95C333-A401-4FE4-93B6-8A091C4B2C24}" sibTransId="{4579CE07-19BD-470D-9C30-0F31309F901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A76C8EF8-9FF4-4596-B882-BDBDE5CB0630}" type="presOf" srcId="{B9A48CF8-D428-45D1-8969-FBBF15BE7DBA}" destId="{2A5CEEB8-6E5B-483B-B9F8-75ED22884F54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6EE4501F-DB0F-422F-9178-7ED54BC8EAEE}" type="presParOf" srcId="{43AFC4E7-46DA-4B7B-B201-0A406A05CAD2}" destId="{FC0295C0-CE64-47B5-998E-77C448499C98}" srcOrd="3" destOrd="0" presId="urn:microsoft.com/office/officeart/2008/layout/VerticalCurvedList"/>
    <dgm:cxn modelId="{BF0E5D98-C8B2-4177-8E85-825CF1F6E673}" type="presParOf" srcId="{43AFC4E7-46DA-4B7B-B201-0A406A05CAD2}" destId="{08DEAB1D-53C4-4A2A-BA96-15CA12239B72}" srcOrd="4" destOrd="0" presId="urn:microsoft.com/office/officeart/2008/layout/VerticalCurvedList"/>
    <dgm:cxn modelId="{B9909701-801A-4A6A-9ECB-8B8670497319}" type="presParOf" srcId="{08DEAB1D-53C4-4A2A-BA96-15CA12239B72}" destId="{B866E7F9-E5E7-484B-AB61-13B12708D460}" srcOrd="0" destOrd="0" presId="urn:microsoft.com/office/officeart/2008/layout/VerticalCurvedList"/>
    <dgm:cxn modelId="{71FA8266-6C10-496E-A7A9-B204C3DB586C}" type="presParOf" srcId="{43AFC4E7-46DA-4B7B-B201-0A406A05CAD2}" destId="{2A5CEEB8-6E5B-483B-B9F8-75ED22884F54}" srcOrd="5" destOrd="0" presId="urn:microsoft.com/office/officeart/2008/layout/VerticalCurvedList"/>
    <dgm:cxn modelId="{36958FC1-568D-4CA0-926F-39FA991C19F2}" type="presParOf" srcId="{43AFC4E7-46DA-4B7B-B201-0A406A05CAD2}" destId="{84CA3009-D7FB-4254-8CD8-894C008D9E34}" srcOrd="6" destOrd="0" presId="urn:microsoft.com/office/officeart/2008/layout/VerticalCurvedList"/>
    <dgm:cxn modelId="{1D5C8608-C4A3-4235-A4F1-19F4EDEEE90E}" type="presParOf" srcId="{84CA3009-D7FB-4254-8CD8-894C008D9E34}" destId="{7A113706-4115-4E46-A0DB-BB2E4C947383}" srcOrd="0" destOrd="0" presId="urn:microsoft.com/office/officeart/2008/layout/VerticalCurvedList"/>
    <dgm:cxn modelId="{80D7A1F2-83EF-4494-85CC-1C6C55ADACB5}" type="presParOf" srcId="{43AFC4E7-46DA-4B7B-B201-0A406A05CAD2}" destId="{90AFB06F-5233-4B87-9F90-CF49EC1E6031}" srcOrd="7" destOrd="0" presId="urn:microsoft.com/office/officeart/2008/layout/VerticalCurvedList"/>
    <dgm:cxn modelId="{BE0F58EC-954A-4DCA-A002-0BA9FD94D319}" type="presParOf" srcId="{43AFC4E7-46DA-4B7B-B201-0A406A05CAD2}" destId="{2FA75C2A-ED5B-4FF6-AC11-C64CBCCC3080}" srcOrd="8" destOrd="0" presId="urn:microsoft.com/office/officeart/2008/layout/VerticalCurvedList"/>
    <dgm:cxn modelId="{FF5DBD0A-CD15-4C69-B11E-ED7B82845063}" type="presParOf" srcId="{2FA75C2A-ED5B-4FF6-AC11-C64CBCCC3080}" destId="{0692BF8D-B063-4580-8A2D-225A14481CCD}" srcOrd="0" destOrd="0" presId="urn:microsoft.com/office/officeart/2008/layout/VerticalCurvedList"/>
    <dgm:cxn modelId="{05DC1C0B-BC3E-4225-96AA-E6F35DFF0D16}" type="presParOf" srcId="{43AFC4E7-46DA-4B7B-B201-0A406A05CAD2}" destId="{40E805B5-61E0-496D-8348-916A9D159C92}" srcOrd="9" destOrd="0" presId="urn:microsoft.com/office/officeart/2008/layout/VerticalCurvedList"/>
    <dgm:cxn modelId="{C0B32528-91D6-4A03-AB7E-4CDD68FC1EE6}" type="presParOf" srcId="{43AFC4E7-46DA-4B7B-B201-0A406A05CAD2}" destId="{C2C7E345-B783-4EDD-A02C-9F73D6F20217}" srcOrd="10" destOrd="0" presId="urn:microsoft.com/office/officeart/2008/layout/VerticalCurvedList"/>
    <dgm:cxn modelId="{3A7E6B34-84A7-4442-AAA9-C16A31B1048C}" type="presParOf" srcId="{C2C7E345-B783-4EDD-A02C-9F73D6F20217}" destId="{1CAC461D-769E-43F1-85D8-A86E37EE9368}" srcOrd="0" destOrd="0" presId="urn:microsoft.com/office/officeart/2008/layout/VerticalCurvedList"/>
    <dgm:cxn modelId="{9DDDF2F1-EE99-47B0-99E2-0A7310BF3326}" type="presParOf" srcId="{43AFC4E7-46DA-4B7B-B201-0A406A05CAD2}" destId="{3AF69084-E551-402E-95FC-95D83736201C}" srcOrd="11" destOrd="0" presId="urn:microsoft.com/office/officeart/2008/layout/VerticalCurvedList"/>
    <dgm:cxn modelId="{AC345CA3-393D-4031-A75D-3FAD35A5D78D}" type="presParOf" srcId="{43AFC4E7-46DA-4B7B-B201-0A406A05CAD2}" destId="{F5EF7981-6B08-414D-9727-90B3DCD7F7EA}" srcOrd="12" destOrd="0" presId="urn:microsoft.com/office/officeart/2008/layout/VerticalCurvedList"/>
    <dgm:cxn modelId="{6023ABD4-9DE6-45A4-8C3B-D3EA8D33F04F}" type="presParOf" srcId="{F5EF7981-6B08-414D-9727-90B3DCD7F7EA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19-2020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0-2021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CDBAD342-69C5-4EB7-8DC1-C435101C223D}">
      <dgm:prSet phldrT="[Texte]" custT="1"/>
      <dgm:spPr/>
      <dgm:t>
        <a:bodyPr/>
        <a:lstStyle/>
        <a:p>
          <a:r>
            <a:rPr lang="fr-FR" sz="2000" dirty="0"/>
            <a:t>Point sur la situation sanitaire actuelle </a:t>
          </a:r>
        </a:p>
      </dgm:t>
    </dgm:pt>
    <dgm:pt modelId="{2A95C333-A401-4FE4-93B6-8A091C4B2C24}" type="parTrans" cxnId="{A3C563DF-F3FD-4D95-9A53-D91BB5FA6264}">
      <dgm:prSet/>
      <dgm:spPr/>
      <dgm:t>
        <a:bodyPr/>
        <a:lstStyle/>
        <a:p>
          <a:endParaRPr lang="fr-FR"/>
        </a:p>
      </dgm:t>
    </dgm:pt>
    <dgm:pt modelId="{4579CE07-19BD-470D-9C30-0F31309F901C}" type="sibTrans" cxnId="{A3C563DF-F3FD-4D95-9A53-D91BB5FA626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6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6"/>
      <dgm:spPr/>
    </dgm:pt>
    <dgm:pt modelId="{4485BF69-EF87-4AEE-AFDF-DE2F8D2ACCD9}" type="pres">
      <dgm:prSet presAssocID="{F010CF21-4A6D-44EF-A02C-3D5169816247}" presName="dstNode" presStyleLbl="node1" presStyleIdx="0" presStyleCnt="6"/>
      <dgm:spPr/>
    </dgm:pt>
    <dgm:pt modelId="{54C74578-773C-4297-A4DE-1398F67BB91C}" type="pres">
      <dgm:prSet presAssocID="{59788018-3182-43A3-8988-94BE0745A02A}" presName="text_1" presStyleLbl="node1" presStyleIdx="0" presStyleCnt="6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6"/>
      <dgm:spPr/>
    </dgm:pt>
    <dgm:pt modelId="{FC0295C0-CE64-47B5-998E-77C448499C98}" type="pres">
      <dgm:prSet presAssocID="{CDBAD342-69C5-4EB7-8DC1-C435101C223D}" presName="text_2" presStyleLbl="node1" presStyleIdx="1" presStyleCnt="6">
        <dgm:presLayoutVars>
          <dgm:bulletEnabled val="1"/>
        </dgm:presLayoutVars>
      </dgm:prSet>
      <dgm:spPr/>
    </dgm:pt>
    <dgm:pt modelId="{08DEAB1D-53C4-4A2A-BA96-15CA12239B72}" type="pres">
      <dgm:prSet presAssocID="{CDBAD342-69C5-4EB7-8DC1-C435101C223D}" presName="accent_2" presStyleCnt="0"/>
      <dgm:spPr/>
    </dgm:pt>
    <dgm:pt modelId="{B866E7F9-E5E7-484B-AB61-13B12708D460}" type="pres">
      <dgm:prSet presAssocID="{CDBAD342-69C5-4EB7-8DC1-C435101C223D}" presName="accentRepeatNode" presStyleLbl="solidFgAcc1" presStyleIdx="1" presStyleCnt="6"/>
      <dgm:spPr/>
    </dgm:pt>
    <dgm:pt modelId="{2A5CEEB8-6E5B-483B-B9F8-75ED22884F54}" type="pres">
      <dgm:prSet presAssocID="{B9A48CF8-D428-45D1-8969-FBBF15BE7DBA}" presName="text_3" presStyleLbl="node1" presStyleIdx="2" presStyleCnt="6">
        <dgm:presLayoutVars>
          <dgm:bulletEnabled val="1"/>
        </dgm:presLayoutVars>
      </dgm:prSet>
      <dgm:spPr/>
    </dgm:pt>
    <dgm:pt modelId="{84CA3009-D7FB-4254-8CD8-894C008D9E34}" type="pres">
      <dgm:prSet presAssocID="{B9A48CF8-D428-45D1-8969-FBBF15BE7DBA}" presName="accent_3" presStyleCnt="0"/>
      <dgm:spPr/>
    </dgm:pt>
    <dgm:pt modelId="{7A113706-4115-4E46-A0DB-BB2E4C947383}" type="pres">
      <dgm:prSet presAssocID="{B9A48CF8-D428-45D1-8969-FBBF15BE7DBA}" presName="accentRepeatNode" presStyleLbl="solidFgAcc1" presStyleIdx="2" presStyleCnt="6"/>
      <dgm:spPr/>
    </dgm:pt>
    <dgm:pt modelId="{90AFB06F-5233-4B87-9F90-CF49EC1E6031}" type="pres">
      <dgm:prSet presAssocID="{2950704D-F612-46DF-93DB-38562274CE0A}" presName="text_4" presStyleLbl="node1" presStyleIdx="3" presStyleCnt="6">
        <dgm:presLayoutVars>
          <dgm:bulletEnabled val="1"/>
        </dgm:presLayoutVars>
      </dgm:prSet>
      <dgm:spPr/>
    </dgm:pt>
    <dgm:pt modelId="{2FA75C2A-ED5B-4FF6-AC11-C64CBCCC3080}" type="pres">
      <dgm:prSet presAssocID="{2950704D-F612-46DF-93DB-38562274CE0A}" presName="accent_4" presStyleCnt="0"/>
      <dgm:spPr/>
    </dgm:pt>
    <dgm:pt modelId="{0692BF8D-B063-4580-8A2D-225A14481CCD}" type="pres">
      <dgm:prSet presAssocID="{2950704D-F612-46DF-93DB-38562274CE0A}" presName="accentRepeatNode" presStyleLbl="solidFgAcc1" presStyleIdx="3" presStyleCnt="6"/>
      <dgm:spPr/>
    </dgm:pt>
    <dgm:pt modelId="{40E805B5-61E0-496D-8348-916A9D159C92}" type="pres">
      <dgm:prSet presAssocID="{445F633E-575C-4AF5-92DD-A71CC7C927A2}" presName="text_5" presStyleLbl="node1" presStyleIdx="4" presStyleCnt="6">
        <dgm:presLayoutVars>
          <dgm:bulletEnabled val="1"/>
        </dgm:presLayoutVars>
      </dgm:prSet>
      <dgm:spPr/>
    </dgm:pt>
    <dgm:pt modelId="{C2C7E345-B783-4EDD-A02C-9F73D6F20217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6"/>
      <dgm:spPr/>
    </dgm:pt>
    <dgm:pt modelId="{3AF69084-E551-402E-95FC-95D83736201C}" type="pres">
      <dgm:prSet presAssocID="{414797EB-74B4-4291-AF3E-06BCA64CF6B6}" presName="text_6" presStyleLbl="node1" presStyleIdx="5" presStyleCnt="6">
        <dgm:presLayoutVars>
          <dgm:bulletEnabled val="1"/>
        </dgm:presLayoutVars>
      </dgm:prSet>
      <dgm:spPr/>
    </dgm:pt>
    <dgm:pt modelId="{F5EF7981-6B08-414D-9727-90B3DCD7F7EA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6"/>
      <dgm:spPr/>
    </dgm:pt>
  </dgm:ptLst>
  <dgm:cxnLst>
    <dgm:cxn modelId="{526ECF28-3CAD-4D93-A271-BA130FC38A40}" srcId="{F010CF21-4A6D-44EF-A02C-3D5169816247}" destId="{B9A48CF8-D428-45D1-8969-FBBF15BE7DBA}" srcOrd="2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7F21A771-B949-4BB4-9FF5-57A450042B3B}" type="presOf" srcId="{414797EB-74B4-4291-AF3E-06BCA64CF6B6}" destId="{3AF69084-E551-402E-95FC-95D83736201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82A827A8-E41C-4524-BA29-EDCADC2E46D9}" type="presOf" srcId="{2950704D-F612-46DF-93DB-38562274CE0A}" destId="{90AFB06F-5233-4B87-9F90-CF49EC1E6031}" srcOrd="0" destOrd="0" presId="urn:microsoft.com/office/officeart/2008/layout/VerticalCurvedList"/>
    <dgm:cxn modelId="{E62432B3-0548-45BE-B135-34FBDCB7F78B}" type="presOf" srcId="{445F633E-575C-4AF5-92DD-A71CC7C927A2}" destId="{40E805B5-61E0-496D-8348-916A9D159C92}" srcOrd="0" destOrd="0" presId="urn:microsoft.com/office/officeart/2008/layout/VerticalCurvedList"/>
    <dgm:cxn modelId="{A3F6F9CC-A017-4180-9E88-CDD61E653699}" type="presOf" srcId="{CDBAD342-69C5-4EB7-8DC1-C435101C223D}" destId="{FC0295C0-CE64-47B5-998E-77C448499C98}" srcOrd="0" destOrd="0" presId="urn:microsoft.com/office/officeart/2008/layout/VerticalCurvedList"/>
    <dgm:cxn modelId="{75BC15D3-E58B-4B5A-AEB7-3CE02EFD8705}" srcId="{F010CF21-4A6D-44EF-A02C-3D5169816247}" destId="{2950704D-F612-46DF-93DB-38562274CE0A}" srcOrd="3" destOrd="0" parTransId="{987F1677-1426-4E16-870E-56D0BC663F9B}" sibTransId="{83820126-CD9B-4B36-913F-47587C72FAFD}"/>
    <dgm:cxn modelId="{A3C563DF-F3FD-4D95-9A53-D91BB5FA6264}" srcId="{F010CF21-4A6D-44EF-A02C-3D5169816247}" destId="{CDBAD342-69C5-4EB7-8DC1-C435101C223D}" srcOrd="1" destOrd="0" parTransId="{2A95C333-A401-4FE4-93B6-8A091C4B2C24}" sibTransId="{4579CE07-19BD-470D-9C30-0F31309F901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A76C8EF8-9FF4-4596-B882-BDBDE5CB0630}" type="presOf" srcId="{B9A48CF8-D428-45D1-8969-FBBF15BE7DBA}" destId="{2A5CEEB8-6E5B-483B-B9F8-75ED22884F54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6EE4501F-DB0F-422F-9178-7ED54BC8EAEE}" type="presParOf" srcId="{43AFC4E7-46DA-4B7B-B201-0A406A05CAD2}" destId="{FC0295C0-CE64-47B5-998E-77C448499C98}" srcOrd="3" destOrd="0" presId="urn:microsoft.com/office/officeart/2008/layout/VerticalCurvedList"/>
    <dgm:cxn modelId="{BF0E5D98-C8B2-4177-8E85-825CF1F6E673}" type="presParOf" srcId="{43AFC4E7-46DA-4B7B-B201-0A406A05CAD2}" destId="{08DEAB1D-53C4-4A2A-BA96-15CA12239B72}" srcOrd="4" destOrd="0" presId="urn:microsoft.com/office/officeart/2008/layout/VerticalCurvedList"/>
    <dgm:cxn modelId="{B9909701-801A-4A6A-9ECB-8B8670497319}" type="presParOf" srcId="{08DEAB1D-53C4-4A2A-BA96-15CA12239B72}" destId="{B866E7F9-E5E7-484B-AB61-13B12708D460}" srcOrd="0" destOrd="0" presId="urn:microsoft.com/office/officeart/2008/layout/VerticalCurvedList"/>
    <dgm:cxn modelId="{71FA8266-6C10-496E-A7A9-B204C3DB586C}" type="presParOf" srcId="{43AFC4E7-46DA-4B7B-B201-0A406A05CAD2}" destId="{2A5CEEB8-6E5B-483B-B9F8-75ED22884F54}" srcOrd="5" destOrd="0" presId="urn:microsoft.com/office/officeart/2008/layout/VerticalCurvedList"/>
    <dgm:cxn modelId="{36958FC1-568D-4CA0-926F-39FA991C19F2}" type="presParOf" srcId="{43AFC4E7-46DA-4B7B-B201-0A406A05CAD2}" destId="{84CA3009-D7FB-4254-8CD8-894C008D9E34}" srcOrd="6" destOrd="0" presId="urn:microsoft.com/office/officeart/2008/layout/VerticalCurvedList"/>
    <dgm:cxn modelId="{1D5C8608-C4A3-4235-A4F1-19F4EDEEE90E}" type="presParOf" srcId="{84CA3009-D7FB-4254-8CD8-894C008D9E34}" destId="{7A113706-4115-4E46-A0DB-BB2E4C947383}" srcOrd="0" destOrd="0" presId="urn:microsoft.com/office/officeart/2008/layout/VerticalCurvedList"/>
    <dgm:cxn modelId="{80D7A1F2-83EF-4494-85CC-1C6C55ADACB5}" type="presParOf" srcId="{43AFC4E7-46DA-4B7B-B201-0A406A05CAD2}" destId="{90AFB06F-5233-4B87-9F90-CF49EC1E6031}" srcOrd="7" destOrd="0" presId="urn:microsoft.com/office/officeart/2008/layout/VerticalCurvedList"/>
    <dgm:cxn modelId="{BE0F58EC-954A-4DCA-A002-0BA9FD94D319}" type="presParOf" srcId="{43AFC4E7-46DA-4B7B-B201-0A406A05CAD2}" destId="{2FA75C2A-ED5B-4FF6-AC11-C64CBCCC3080}" srcOrd="8" destOrd="0" presId="urn:microsoft.com/office/officeart/2008/layout/VerticalCurvedList"/>
    <dgm:cxn modelId="{FF5DBD0A-CD15-4C69-B11E-ED7B82845063}" type="presParOf" srcId="{2FA75C2A-ED5B-4FF6-AC11-C64CBCCC3080}" destId="{0692BF8D-B063-4580-8A2D-225A14481CCD}" srcOrd="0" destOrd="0" presId="urn:microsoft.com/office/officeart/2008/layout/VerticalCurvedList"/>
    <dgm:cxn modelId="{05DC1C0B-BC3E-4225-96AA-E6F35DFF0D16}" type="presParOf" srcId="{43AFC4E7-46DA-4B7B-B201-0A406A05CAD2}" destId="{40E805B5-61E0-496D-8348-916A9D159C92}" srcOrd="9" destOrd="0" presId="urn:microsoft.com/office/officeart/2008/layout/VerticalCurvedList"/>
    <dgm:cxn modelId="{C0B32528-91D6-4A03-AB7E-4CDD68FC1EE6}" type="presParOf" srcId="{43AFC4E7-46DA-4B7B-B201-0A406A05CAD2}" destId="{C2C7E345-B783-4EDD-A02C-9F73D6F20217}" srcOrd="10" destOrd="0" presId="urn:microsoft.com/office/officeart/2008/layout/VerticalCurvedList"/>
    <dgm:cxn modelId="{3A7E6B34-84A7-4442-AAA9-C16A31B1048C}" type="presParOf" srcId="{C2C7E345-B783-4EDD-A02C-9F73D6F20217}" destId="{1CAC461D-769E-43F1-85D8-A86E37EE9368}" srcOrd="0" destOrd="0" presId="urn:microsoft.com/office/officeart/2008/layout/VerticalCurvedList"/>
    <dgm:cxn modelId="{9DDDF2F1-EE99-47B0-99E2-0A7310BF3326}" type="presParOf" srcId="{43AFC4E7-46DA-4B7B-B201-0A406A05CAD2}" destId="{3AF69084-E551-402E-95FC-95D83736201C}" srcOrd="11" destOrd="0" presId="urn:microsoft.com/office/officeart/2008/layout/VerticalCurvedList"/>
    <dgm:cxn modelId="{AC345CA3-393D-4031-A75D-3FAD35A5D78D}" type="presParOf" srcId="{43AFC4E7-46DA-4B7B-B201-0A406A05CAD2}" destId="{F5EF7981-6B08-414D-9727-90B3DCD7F7EA}" srcOrd="12" destOrd="0" presId="urn:microsoft.com/office/officeart/2008/layout/VerticalCurvedList"/>
    <dgm:cxn modelId="{6023ABD4-9DE6-45A4-8C3B-D3EA8D33F04F}" type="presParOf" srcId="{F5EF7981-6B08-414D-9727-90B3DCD7F7EA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92224" y="278663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</a:t>
          </a:r>
        </a:p>
      </dsp:txBody>
      <dsp:txXfrm>
        <a:off x="392224" y="278663"/>
        <a:ext cx="8049195" cy="513920"/>
      </dsp:txXfrm>
    </dsp:sp>
    <dsp:sp modelId="{EBBCF617-4DDB-47D0-98C7-99413FA904B7}">
      <dsp:nvSpPr>
        <dsp:cNvPr id="0" name=""/>
        <dsp:cNvSpPr/>
      </dsp:nvSpPr>
      <dsp:spPr>
        <a:xfrm>
          <a:off x="71024" y="19281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295C0-CE64-47B5-998E-77C448499C98}">
      <dsp:nvSpPr>
        <dsp:cNvPr id="0" name=""/>
        <dsp:cNvSpPr/>
      </dsp:nvSpPr>
      <dsp:spPr>
        <a:xfrm>
          <a:off x="814959" y="1027841"/>
          <a:ext cx="7626460" cy="51392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Point sur la situation sanitaire actuelle </a:t>
          </a:r>
        </a:p>
      </dsp:txBody>
      <dsp:txXfrm>
        <a:off x="814959" y="1027841"/>
        <a:ext cx="7626460" cy="513920"/>
      </dsp:txXfrm>
    </dsp:sp>
    <dsp:sp modelId="{B866E7F9-E5E7-484B-AB61-13B12708D460}">
      <dsp:nvSpPr>
        <dsp:cNvPr id="0" name=""/>
        <dsp:cNvSpPr/>
      </dsp:nvSpPr>
      <dsp:spPr>
        <a:xfrm>
          <a:off x="493759" y="963601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5CEEB8-6E5B-483B-B9F8-75ED22884F54}">
      <dsp:nvSpPr>
        <dsp:cNvPr id="0" name=""/>
        <dsp:cNvSpPr/>
      </dsp:nvSpPr>
      <dsp:spPr>
        <a:xfrm>
          <a:off x="1008265" y="1798625"/>
          <a:ext cx="7433154" cy="51392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19-2020</a:t>
          </a:r>
        </a:p>
      </dsp:txBody>
      <dsp:txXfrm>
        <a:off x="1008265" y="1798625"/>
        <a:ext cx="7433154" cy="513920"/>
      </dsp:txXfrm>
    </dsp:sp>
    <dsp:sp modelId="{7A113706-4115-4E46-A0DB-BB2E4C947383}">
      <dsp:nvSpPr>
        <dsp:cNvPr id="0" name=""/>
        <dsp:cNvSpPr/>
      </dsp:nvSpPr>
      <dsp:spPr>
        <a:xfrm>
          <a:off x="687065" y="1734385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FB06F-5233-4B87-9F90-CF49EC1E6031}">
      <dsp:nvSpPr>
        <dsp:cNvPr id="0" name=""/>
        <dsp:cNvSpPr/>
      </dsp:nvSpPr>
      <dsp:spPr>
        <a:xfrm>
          <a:off x="1008265" y="2568920"/>
          <a:ext cx="7433154" cy="51392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08265" y="2568920"/>
        <a:ext cx="7433154" cy="513920"/>
      </dsp:txXfrm>
    </dsp:sp>
    <dsp:sp modelId="{0692BF8D-B063-4580-8A2D-225A14481CCD}">
      <dsp:nvSpPr>
        <dsp:cNvPr id="0" name=""/>
        <dsp:cNvSpPr/>
      </dsp:nvSpPr>
      <dsp:spPr>
        <a:xfrm>
          <a:off x="687065" y="2504680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805B5-61E0-496D-8348-916A9D159C92}">
      <dsp:nvSpPr>
        <dsp:cNvPr id="0" name=""/>
        <dsp:cNvSpPr/>
      </dsp:nvSpPr>
      <dsp:spPr>
        <a:xfrm>
          <a:off x="814959" y="3339704"/>
          <a:ext cx="7626460" cy="51392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0-2021</a:t>
          </a:r>
        </a:p>
      </dsp:txBody>
      <dsp:txXfrm>
        <a:off x="814959" y="3339704"/>
        <a:ext cx="7626460" cy="513920"/>
      </dsp:txXfrm>
    </dsp:sp>
    <dsp:sp modelId="{1CAC461D-769E-43F1-85D8-A86E37EE9368}">
      <dsp:nvSpPr>
        <dsp:cNvPr id="0" name=""/>
        <dsp:cNvSpPr/>
      </dsp:nvSpPr>
      <dsp:spPr>
        <a:xfrm>
          <a:off x="493759" y="3275464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69084-E551-402E-95FC-95D83736201C}">
      <dsp:nvSpPr>
        <dsp:cNvPr id="0" name=""/>
        <dsp:cNvSpPr/>
      </dsp:nvSpPr>
      <dsp:spPr>
        <a:xfrm>
          <a:off x="392224" y="4110488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392224" y="4110488"/>
        <a:ext cx="8049195" cy="513920"/>
      </dsp:txXfrm>
    </dsp:sp>
    <dsp:sp modelId="{5AF5E7EE-A04D-40FC-8300-CF20EEE80831}">
      <dsp:nvSpPr>
        <dsp:cNvPr id="0" name=""/>
        <dsp:cNvSpPr/>
      </dsp:nvSpPr>
      <dsp:spPr>
        <a:xfrm>
          <a:off x="71024" y="404624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390926-759D-492B-AB77-CF407BA74328}">
      <dsp:nvSpPr>
        <dsp:cNvPr id="0" name=""/>
        <dsp:cNvSpPr/>
      </dsp:nvSpPr>
      <dsp:spPr>
        <a:xfrm>
          <a:off x="0" y="4782702"/>
          <a:ext cx="7940842" cy="523368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…………</a:t>
          </a:r>
        </a:p>
      </dsp:txBody>
      <dsp:txXfrm>
        <a:off x="0" y="4782702"/>
        <a:ext cx="7940842" cy="523368"/>
      </dsp:txXfrm>
    </dsp:sp>
    <dsp:sp modelId="{44F915BB-13CA-4155-9369-3D188D9C8C24}">
      <dsp:nvSpPr>
        <dsp:cNvPr id="0" name=""/>
        <dsp:cNvSpPr/>
      </dsp:nvSpPr>
      <dsp:spPr>
        <a:xfrm rot="10800000">
          <a:off x="0" y="3985612"/>
          <a:ext cx="7940842" cy="804940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Des résultats très prometteurs lors de l’arrêt en mars </a:t>
          </a:r>
        </a:p>
      </dsp:txBody>
      <dsp:txXfrm rot="10800000">
        <a:off x="0" y="3985612"/>
        <a:ext cx="7940842" cy="523026"/>
      </dsp:txXfrm>
    </dsp:sp>
    <dsp:sp modelId="{037BBCA1-DA96-4D49-82E4-5BFB27FC9589}">
      <dsp:nvSpPr>
        <dsp:cNvPr id="0" name=""/>
        <dsp:cNvSpPr/>
      </dsp:nvSpPr>
      <dsp:spPr>
        <a:xfrm rot="10800000">
          <a:off x="0" y="3188522"/>
          <a:ext cx="7940842" cy="804940"/>
        </a:xfrm>
        <a:prstGeom prst="upArrowCallou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Tournoi des Mousquetaires en Janvier 2020</a:t>
          </a:r>
        </a:p>
      </dsp:txBody>
      <dsp:txXfrm rot="10800000">
        <a:off x="0" y="3188522"/>
        <a:ext cx="7940842" cy="523026"/>
      </dsp:txXfrm>
    </dsp:sp>
    <dsp:sp modelId="{B9A938CB-C6E6-487E-A8BD-5FE0271E12CE}">
      <dsp:nvSpPr>
        <dsp:cNvPr id="0" name=""/>
        <dsp:cNvSpPr/>
      </dsp:nvSpPr>
      <dsp:spPr>
        <a:xfrm rot="10800000">
          <a:off x="0" y="2391431"/>
          <a:ext cx="7940842" cy="804940"/>
        </a:xfrm>
        <a:prstGeom prst="upArrowCallout">
          <a:avLst/>
        </a:prstGeom>
        <a:solidFill>
          <a:srgbClr val="FCCBC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Nuit Bad è Téléthon</a:t>
          </a:r>
        </a:p>
      </dsp:txBody>
      <dsp:txXfrm rot="10800000">
        <a:off x="0" y="2391431"/>
        <a:ext cx="7940842" cy="523026"/>
      </dsp:txXfrm>
    </dsp:sp>
    <dsp:sp modelId="{DE9D4EB4-CAC9-4A9D-ACA5-A3AB016B88C4}">
      <dsp:nvSpPr>
        <dsp:cNvPr id="0" name=""/>
        <dsp:cNvSpPr/>
      </dsp:nvSpPr>
      <dsp:spPr>
        <a:xfrm rot="10800000">
          <a:off x="0" y="1594341"/>
          <a:ext cx="7940842" cy="804940"/>
        </a:xfrm>
        <a:prstGeom prst="upArrowCallou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Champ. Reg Vétérans de Badminton en Déc 2019</a:t>
          </a:r>
        </a:p>
      </dsp:txBody>
      <dsp:txXfrm rot="10800000">
        <a:off x="0" y="1594341"/>
        <a:ext cx="7940842" cy="523026"/>
      </dsp:txXfrm>
    </dsp:sp>
    <dsp:sp modelId="{04C9FAE8-795C-4A6B-A109-F1E518811555}">
      <dsp:nvSpPr>
        <dsp:cNvPr id="0" name=""/>
        <dsp:cNvSpPr/>
      </dsp:nvSpPr>
      <dsp:spPr>
        <a:xfrm rot="10800000">
          <a:off x="0" y="797250"/>
          <a:ext cx="7940842" cy="804940"/>
        </a:xfrm>
        <a:prstGeom prst="upArrowCallou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Tournoi interne Bad en octobre 2019</a:t>
          </a:r>
        </a:p>
      </dsp:txBody>
      <dsp:txXfrm rot="10800000">
        <a:off x="0" y="797250"/>
        <a:ext cx="7940842" cy="523026"/>
      </dsp:txXfrm>
    </dsp:sp>
    <dsp:sp modelId="{5C0CA91D-458F-4D8D-AEFC-AB497E6D417C}">
      <dsp:nvSpPr>
        <dsp:cNvPr id="0" name=""/>
        <dsp:cNvSpPr/>
      </dsp:nvSpPr>
      <dsp:spPr>
        <a:xfrm rot="10800000">
          <a:off x="0" y="160"/>
          <a:ext cx="7940842" cy="804940"/>
        </a:xfrm>
        <a:prstGeom prst="upArrowCallou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Saison amputée à 50%</a:t>
          </a:r>
        </a:p>
      </dsp:txBody>
      <dsp:txXfrm rot="10800000">
        <a:off x="0" y="160"/>
        <a:ext cx="7940842" cy="5230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92224" y="278663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</a:t>
          </a:r>
        </a:p>
      </dsp:txBody>
      <dsp:txXfrm>
        <a:off x="392224" y="278663"/>
        <a:ext cx="8049195" cy="513920"/>
      </dsp:txXfrm>
    </dsp:sp>
    <dsp:sp modelId="{EBBCF617-4DDB-47D0-98C7-99413FA904B7}">
      <dsp:nvSpPr>
        <dsp:cNvPr id="0" name=""/>
        <dsp:cNvSpPr/>
      </dsp:nvSpPr>
      <dsp:spPr>
        <a:xfrm>
          <a:off x="71024" y="19281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295C0-CE64-47B5-998E-77C448499C98}">
      <dsp:nvSpPr>
        <dsp:cNvPr id="0" name=""/>
        <dsp:cNvSpPr/>
      </dsp:nvSpPr>
      <dsp:spPr>
        <a:xfrm>
          <a:off x="814959" y="1027841"/>
          <a:ext cx="7626460" cy="51392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Point sur la situation sanitaire actuelle </a:t>
          </a:r>
        </a:p>
      </dsp:txBody>
      <dsp:txXfrm>
        <a:off x="814959" y="1027841"/>
        <a:ext cx="7626460" cy="513920"/>
      </dsp:txXfrm>
    </dsp:sp>
    <dsp:sp modelId="{B866E7F9-E5E7-484B-AB61-13B12708D460}">
      <dsp:nvSpPr>
        <dsp:cNvPr id="0" name=""/>
        <dsp:cNvSpPr/>
      </dsp:nvSpPr>
      <dsp:spPr>
        <a:xfrm>
          <a:off x="493759" y="963601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5CEEB8-6E5B-483B-B9F8-75ED22884F54}">
      <dsp:nvSpPr>
        <dsp:cNvPr id="0" name=""/>
        <dsp:cNvSpPr/>
      </dsp:nvSpPr>
      <dsp:spPr>
        <a:xfrm>
          <a:off x="1008265" y="1798625"/>
          <a:ext cx="7433154" cy="51392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19-2020</a:t>
          </a:r>
        </a:p>
      </dsp:txBody>
      <dsp:txXfrm>
        <a:off x="1008265" y="1798625"/>
        <a:ext cx="7433154" cy="513920"/>
      </dsp:txXfrm>
    </dsp:sp>
    <dsp:sp modelId="{7A113706-4115-4E46-A0DB-BB2E4C947383}">
      <dsp:nvSpPr>
        <dsp:cNvPr id="0" name=""/>
        <dsp:cNvSpPr/>
      </dsp:nvSpPr>
      <dsp:spPr>
        <a:xfrm>
          <a:off x="687065" y="1734385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FB06F-5233-4B87-9F90-CF49EC1E6031}">
      <dsp:nvSpPr>
        <dsp:cNvPr id="0" name=""/>
        <dsp:cNvSpPr/>
      </dsp:nvSpPr>
      <dsp:spPr>
        <a:xfrm>
          <a:off x="1008265" y="2568920"/>
          <a:ext cx="7433154" cy="51392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08265" y="2568920"/>
        <a:ext cx="7433154" cy="513920"/>
      </dsp:txXfrm>
    </dsp:sp>
    <dsp:sp modelId="{0692BF8D-B063-4580-8A2D-225A14481CCD}">
      <dsp:nvSpPr>
        <dsp:cNvPr id="0" name=""/>
        <dsp:cNvSpPr/>
      </dsp:nvSpPr>
      <dsp:spPr>
        <a:xfrm>
          <a:off x="687065" y="2504680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805B5-61E0-496D-8348-916A9D159C92}">
      <dsp:nvSpPr>
        <dsp:cNvPr id="0" name=""/>
        <dsp:cNvSpPr/>
      </dsp:nvSpPr>
      <dsp:spPr>
        <a:xfrm>
          <a:off x="814959" y="3339704"/>
          <a:ext cx="7626460" cy="51392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0-2021</a:t>
          </a:r>
        </a:p>
      </dsp:txBody>
      <dsp:txXfrm>
        <a:off x="814959" y="3339704"/>
        <a:ext cx="7626460" cy="513920"/>
      </dsp:txXfrm>
    </dsp:sp>
    <dsp:sp modelId="{1CAC461D-769E-43F1-85D8-A86E37EE9368}">
      <dsp:nvSpPr>
        <dsp:cNvPr id="0" name=""/>
        <dsp:cNvSpPr/>
      </dsp:nvSpPr>
      <dsp:spPr>
        <a:xfrm>
          <a:off x="493759" y="3275464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69084-E551-402E-95FC-95D83736201C}">
      <dsp:nvSpPr>
        <dsp:cNvPr id="0" name=""/>
        <dsp:cNvSpPr/>
      </dsp:nvSpPr>
      <dsp:spPr>
        <a:xfrm>
          <a:off x="392224" y="4110488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392224" y="4110488"/>
        <a:ext cx="8049195" cy="513920"/>
      </dsp:txXfrm>
    </dsp:sp>
    <dsp:sp modelId="{5AF5E7EE-A04D-40FC-8300-CF20EEE80831}">
      <dsp:nvSpPr>
        <dsp:cNvPr id="0" name=""/>
        <dsp:cNvSpPr/>
      </dsp:nvSpPr>
      <dsp:spPr>
        <a:xfrm>
          <a:off x="71024" y="404624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92224" y="278663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</a:t>
          </a:r>
        </a:p>
      </dsp:txBody>
      <dsp:txXfrm>
        <a:off x="392224" y="278663"/>
        <a:ext cx="8049195" cy="513920"/>
      </dsp:txXfrm>
    </dsp:sp>
    <dsp:sp modelId="{EBBCF617-4DDB-47D0-98C7-99413FA904B7}">
      <dsp:nvSpPr>
        <dsp:cNvPr id="0" name=""/>
        <dsp:cNvSpPr/>
      </dsp:nvSpPr>
      <dsp:spPr>
        <a:xfrm>
          <a:off x="71024" y="19281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295C0-CE64-47B5-998E-77C448499C98}">
      <dsp:nvSpPr>
        <dsp:cNvPr id="0" name=""/>
        <dsp:cNvSpPr/>
      </dsp:nvSpPr>
      <dsp:spPr>
        <a:xfrm>
          <a:off x="814959" y="1027841"/>
          <a:ext cx="7626460" cy="51392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Point sur la situation sanitaire actuelle </a:t>
          </a:r>
        </a:p>
      </dsp:txBody>
      <dsp:txXfrm>
        <a:off x="814959" y="1027841"/>
        <a:ext cx="7626460" cy="513920"/>
      </dsp:txXfrm>
    </dsp:sp>
    <dsp:sp modelId="{B866E7F9-E5E7-484B-AB61-13B12708D460}">
      <dsp:nvSpPr>
        <dsp:cNvPr id="0" name=""/>
        <dsp:cNvSpPr/>
      </dsp:nvSpPr>
      <dsp:spPr>
        <a:xfrm>
          <a:off x="493759" y="963601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5CEEB8-6E5B-483B-B9F8-75ED22884F54}">
      <dsp:nvSpPr>
        <dsp:cNvPr id="0" name=""/>
        <dsp:cNvSpPr/>
      </dsp:nvSpPr>
      <dsp:spPr>
        <a:xfrm>
          <a:off x="1008265" y="1798625"/>
          <a:ext cx="7433154" cy="51392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19-2020</a:t>
          </a:r>
        </a:p>
      </dsp:txBody>
      <dsp:txXfrm>
        <a:off x="1008265" y="1798625"/>
        <a:ext cx="7433154" cy="513920"/>
      </dsp:txXfrm>
    </dsp:sp>
    <dsp:sp modelId="{7A113706-4115-4E46-A0DB-BB2E4C947383}">
      <dsp:nvSpPr>
        <dsp:cNvPr id="0" name=""/>
        <dsp:cNvSpPr/>
      </dsp:nvSpPr>
      <dsp:spPr>
        <a:xfrm>
          <a:off x="687065" y="1734385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FB06F-5233-4B87-9F90-CF49EC1E6031}">
      <dsp:nvSpPr>
        <dsp:cNvPr id="0" name=""/>
        <dsp:cNvSpPr/>
      </dsp:nvSpPr>
      <dsp:spPr>
        <a:xfrm>
          <a:off x="1008265" y="2568920"/>
          <a:ext cx="7433154" cy="51392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08265" y="2568920"/>
        <a:ext cx="7433154" cy="513920"/>
      </dsp:txXfrm>
    </dsp:sp>
    <dsp:sp modelId="{0692BF8D-B063-4580-8A2D-225A14481CCD}">
      <dsp:nvSpPr>
        <dsp:cNvPr id="0" name=""/>
        <dsp:cNvSpPr/>
      </dsp:nvSpPr>
      <dsp:spPr>
        <a:xfrm>
          <a:off x="687065" y="2504680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805B5-61E0-496D-8348-916A9D159C92}">
      <dsp:nvSpPr>
        <dsp:cNvPr id="0" name=""/>
        <dsp:cNvSpPr/>
      </dsp:nvSpPr>
      <dsp:spPr>
        <a:xfrm>
          <a:off x="814959" y="3339704"/>
          <a:ext cx="7626460" cy="51392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0-2021</a:t>
          </a:r>
        </a:p>
      </dsp:txBody>
      <dsp:txXfrm>
        <a:off x="814959" y="3339704"/>
        <a:ext cx="7626460" cy="513920"/>
      </dsp:txXfrm>
    </dsp:sp>
    <dsp:sp modelId="{1CAC461D-769E-43F1-85D8-A86E37EE9368}">
      <dsp:nvSpPr>
        <dsp:cNvPr id="0" name=""/>
        <dsp:cNvSpPr/>
      </dsp:nvSpPr>
      <dsp:spPr>
        <a:xfrm>
          <a:off x="493759" y="3275464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69084-E551-402E-95FC-95D83736201C}">
      <dsp:nvSpPr>
        <dsp:cNvPr id="0" name=""/>
        <dsp:cNvSpPr/>
      </dsp:nvSpPr>
      <dsp:spPr>
        <a:xfrm>
          <a:off x="392224" y="4110488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392224" y="4110488"/>
        <a:ext cx="8049195" cy="513920"/>
      </dsp:txXfrm>
    </dsp:sp>
    <dsp:sp modelId="{5AF5E7EE-A04D-40FC-8300-CF20EEE80831}">
      <dsp:nvSpPr>
        <dsp:cNvPr id="0" name=""/>
        <dsp:cNvSpPr/>
      </dsp:nvSpPr>
      <dsp:spPr>
        <a:xfrm>
          <a:off x="71024" y="404624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92224" y="278663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</a:t>
          </a:r>
        </a:p>
      </dsp:txBody>
      <dsp:txXfrm>
        <a:off x="392224" y="278663"/>
        <a:ext cx="8049195" cy="513920"/>
      </dsp:txXfrm>
    </dsp:sp>
    <dsp:sp modelId="{EBBCF617-4DDB-47D0-98C7-99413FA904B7}">
      <dsp:nvSpPr>
        <dsp:cNvPr id="0" name=""/>
        <dsp:cNvSpPr/>
      </dsp:nvSpPr>
      <dsp:spPr>
        <a:xfrm>
          <a:off x="71024" y="19281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295C0-CE64-47B5-998E-77C448499C98}">
      <dsp:nvSpPr>
        <dsp:cNvPr id="0" name=""/>
        <dsp:cNvSpPr/>
      </dsp:nvSpPr>
      <dsp:spPr>
        <a:xfrm>
          <a:off x="814959" y="1027841"/>
          <a:ext cx="7626460" cy="51392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Point sur la situation sanitaire actuelle </a:t>
          </a:r>
        </a:p>
      </dsp:txBody>
      <dsp:txXfrm>
        <a:off x="814959" y="1027841"/>
        <a:ext cx="7626460" cy="513920"/>
      </dsp:txXfrm>
    </dsp:sp>
    <dsp:sp modelId="{B866E7F9-E5E7-484B-AB61-13B12708D460}">
      <dsp:nvSpPr>
        <dsp:cNvPr id="0" name=""/>
        <dsp:cNvSpPr/>
      </dsp:nvSpPr>
      <dsp:spPr>
        <a:xfrm>
          <a:off x="493759" y="963601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5CEEB8-6E5B-483B-B9F8-75ED22884F54}">
      <dsp:nvSpPr>
        <dsp:cNvPr id="0" name=""/>
        <dsp:cNvSpPr/>
      </dsp:nvSpPr>
      <dsp:spPr>
        <a:xfrm>
          <a:off x="1008265" y="1798625"/>
          <a:ext cx="7433154" cy="51392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19-2020</a:t>
          </a:r>
        </a:p>
      </dsp:txBody>
      <dsp:txXfrm>
        <a:off x="1008265" y="1798625"/>
        <a:ext cx="7433154" cy="513920"/>
      </dsp:txXfrm>
    </dsp:sp>
    <dsp:sp modelId="{7A113706-4115-4E46-A0DB-BB2E4C947383}">
      <dsp:nvSpPr>
        <dsp:cNvPr id="0" name=""/>
        <dsp:cNvSpPr/>
      </dsp:nvSpPr>
      <dsp:spPr>
        <a:xfrm>
          <a:off x="687065" y="1734385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FB06F-5233-4B87-9F90-CF49EC1E6031}">
      <dsp:nvSpPr>
        <dsp:cNvPr id="0" name=""/>
        <dsp:cNvSpPr/>
      </dsp:nvSpPr>
      <dsp:spPr>
        <a:xfrm>
          <a:off x="1008265" y="2568920"/>
          <a:ext cx="7433154" cy="51392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08265" y="2568920"/>
        <a:ext cx="7433154" cy="513920"/>
      </dsp:txXfrm>
    </dsp:sp>
    <dsp:sp modelId="{0692BF8D-B063-4580-8A2D-225A14481CCD}">
      <dsp:nvSpPr>
        <dsp:cNvPr id="0" name=""/>
        <dsp:cNvSpPr/>
      </dsp:nvSpPr>
      <dsp:spPr>
        <a:xfrm>
          <a:off x="687065" y="2504680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805B5-61E0-496D-8348-916A9D159C92}">
      <dsp:nvSpPr>
        <dsp:cNvPr id="0" name=""/>
        <dsp:cNvSpPr/>
      </dsp:nvSpPr>
      <dsp:spPr>
        <a:xfrm>
          <a:off x="814959" y="3339704"/>
          <a:ext cx="7626460" cy="51392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0-2021</a:t>
          </a:r>
        </a:p>
      </dsp:txBody>
      <dsp:txXfrm>
        <a:off x="814959" y="3339704"/>
        <a:ext cx="7626460" cy="513920"/>
      </dsp:txXfrm>
    </dsp:sp>
    <dsp:sp modelId="{1CAC461D-769E-43F1-85D8-A86E37EE9368}">
      <dsp:nvSpPr>
        <dsp:cNvPr id="0" name=""/>
        <dsp:cNvSpPr/>
      </dsp:nvSpPr>
      <dsp:spPr>
        <a:xfrm>
          <a:off x="493759" y="3275464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69084-E551-402E-95FC-95D83736201C}">
      <dsp:nvSpPr>
        <dsp:cNvPr id="0" name=""/>
        <dsp:cNvSpPr/>
      </dsp:nvSpPr>
      <dsp:spPr>
        <a:xfrm>
          <a:off x="392224" y="4110488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392224" y="4110488"/>
        <a:ext cx="8049195" cy="513920"/>
      </dsp:txXfrm>
    </dsp:sp>
    <dsp:sp modelId="{5AF5E7EE-A04D-40FC-8300-CF20EEE80831}">
      <dsp:nvSpPr>
        <dsp:cNvPr id="0" name=""/>
        <dsp:cNvSpPr/>
      </dsp:nvSpPr>
      <dsp:spPr>
        <a:xfrm>
          <a:off x="71024" y="404624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645F58-E25A-40CE-90DE-4A787FC23356}">
      <dsp:nvSpPr>
        <dsp:cNvPr id="0" name=""/>
        <dsp:cNvSpPr/>
      </dsp:nvSpPr>
      <dsp:spPr>
        <a:xfrm>
          <a:off x="2671088" y="1547"/>
          <a:ext cx="1415561" cy="920115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Définition du PROJET du CLUB</a:t>
          </a:r>
        </a:p>
      </dsp:txBody>
      <dsp:txXfrm>
        <a:off x="2716004" y="46463"/>
        <a:ext cx="1325729" cy="830283"/>
      </dsp:txXfrm>
    </dsp:sp>
    <dsp:sp modelId="{DC6CD9BB-6173-476D-B7E5-430CD1C20B2F}">
      <dsp:nvSpPr>
        <dsp:cNvPr id="0" name=""/>
        <dsp:cNvSpPr/>
      </dsp:nvSpPr>
      <dsp:spPr>
        <a:xfrm>
          <a:off x="1538371" y="461604"/>
          <a:ext cx="3680996" cy="3680996"/>
        </a:xfrm>
        <a:custGeom>
          <a:avLst/>
          <a:gdLst/>
          <a:ahLst/>
          <a:cxnLst/>
          <a:rect l="0" t="0" r="0" b="0"/>
          <a:pathLst>
            <a:path>
              <a:moveTo>
                <a:pt x="2558030" y="145629"/>
              </a:moveTo>
              <a:arcTo wR="1840498" hR="1840498" stAng="17576740" swAng="1964384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00256A-D329-438C-99F3-DAF3F213D4D1}">
      <dsp:nvSpPr>
        <dsp:cNvPr id="0" name=""/>
        <dsp:cNvSpPr/>
      </dsp:nvSpPr>
      <dsp:spPr>
        <a:xfrm>
          <a:off x="4421506" y="1273299"/>
          <a:ext cx="1415561" cy="920115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Assurer son fonctionnement</a:t>
          </a:r>
        </a:p>
      </dsp:txBody>
      <dsp:txXfrm>
        <a:off x="4466422" y="1318215"/>
        <a:ext cx="1325729" cy="830283"/>
      </dsp:txXfrm>
    </dsp:sp>
    <dsp:sp modelId="{BE629CD8-E73C-40BD-BBCD-F3A70ACF1683}">
      <dsp:nvSpPr>
        <dsp:cNvPr id="0" name=""/>
        <dsp:cNvSpPr/>
      </dsp:nvSpPr>
      <dsp:spPr>
        <a:xfrm>
          <a:off x="1538371" y="461604"/>
          <a:ext cx="3680996" cy="3680996"/>
        </a:xfrm>
        <a:custGeom>
          <a:avLst/>
          <a:gdLst/>
          <a:ahLst/>
          <a:cxnLst/>
          <a:rect l="0" t="0" r="0" b="0"/>
          <a:pathLst>
            <a:path>
              <a:moveTo>
                <a:pt x="3678442" y="1743586"/>
              </a:moveTo>
              <a:arcTo wR="1840498" hR="1840498" stAng="21418901" swAng="219849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EE52B4-AF43-4982-BEDA-233FFC9726C4}">
      <dsp:nvSpPr>
        <dsp:cNvPr id="0" name=""/>
        <dsp:cNvSpPr/>
      </dsp:nvSpPr>
      <dsp:spPr>
        <a:xfrm>
          <a:off x="3752906" y="3331039"/>
          <a:ext cx="1415561" cy="920115"/>
        </a:xfrm>
        <a:prstGeom prst="roundRect">
          <a:avLst/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Statuts, durée des mandats et modalités d’élection</a:t>
          </a:r>
        </a:p>
      </dsp:txBody>
      <dsp:txXfrm>
        <a:off x="3797822" y="3375955"/>
        <a:ext cx="1325729" cy="830283"/>
      </dsp:txXfrm>
    </dsp:sp>
    <dsp:sp modelId="{EED813DF-4BE7-46A8-BCCB-57EF9B6C306F}">
      <dsp:nvSpPr>
        <dsp:cNvPr id="0" name=""/>
        <dsp:cNvSpPr/>
      </dsp:nvSpPr>
      <dsp:spPr>
        <a:xfrm>
          <a:off x="1538371" y="461604"/>
          <a:ext cx="3680996" cy="3680996"/>
        </a:xfrm>
        <a:custGeom>
          <a:avLst/>
          <a:gdLst/>
          <a:ahLst/>
          <a:cxnLst/>
          <a:rect l="0" t="0" r="0" b="0"/>
          <a:pathLst>
            <a:path>
              <a:moveTo>
                <a:pt x="2207207" y="3644093"/>
              </a:moveTo>
              <a:arcTo wR="1840498" hR="1840498" stAng="4710433" swAng="1379134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A33D78-0EB7-4048-A609-51623BB40C12}">
      <dsp:nvSpPr>
        <dsp:cNvPr id="0" name=""/>
        <dsp:cNvSpPr/>
      </dsp:nvSpPr>
      <dsp:spPr>
        <a:xfrm>
          <a:off x="1589271" y="3331039"/>
          <a:ext cx="1415561" cy="920115"/>
        </a:xfrm>
        <a:prstGeom prst="round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Election du Bureau</a:t>
          </a:r>
        </a:p>
      </dsp:txBody>
      <dsp:txXfrm>
        <a:off x="1634187" y="3375955"/>
        <a:ext cx="1325729" cy="830283"/>
      </dsp:txXfrm>
    </dsp:sp>
    <dsp:sp modelId="{04F5F2B0-4C1F-4972-AF12-91A7442DCD3A}">
      <dsp:nvSpPr>
        <dsp:cNvPr id="0" name=""/>
        <dsp:cNvSpPr/>
      </dsp:nvSpPr>
      <dsp:spPr>
        <a:xfrm>
          <a:off x="1538371" y="461604"/>
          <a:ext cx="3680996" cy="3680996"/>
        </a:xfrm>
        <a:custGeom>
          <a:avLst/>
          <a:gdLst/>
          <a:ahLst/>
          <a:cxnLst/>
          <a:rect l="0" t="0" r="0" b="0"/>
          <a:pathLst>
            <a:path>
              <a:moveTo>
                <a:pt x="307920" y="2859634"/>
              </a:moveTo>
              <a:arcTo wR="1840498" hR="1840498" stAng="8782608" swAng="219849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DDB7DB-4610-4267-87D6-A5EFC75749F0}">
      <dsp:nvSpPr>
        <dsp:cNvPr id="0" name=""/>
        <dsp:cNvSpPr/>
      </dsp:nvSpPr>
      <dsp:spPr>
        <a:xfrm>
          <a:off x="920671" y="1273299"/>
          <a:ext cx="1415561" cy="920115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Missions  administrateurs</a:t>
          </a:r>
        </a:p>
      </dsp:txBody>
      <dsp:txXfrm>
        <a:off x="965587" y="1318215"/>
        <a:ext cx="1325729" cy="830283"/>
      </dsp:txXfrm>
    </dsp:sp>
    <dsp:sp modelId="{77814920-2F7E-40C6-B8EC-F972BD29F095}">
      <dsp:nvSpPr>
        <dsp:cNvPr id="0" name=""/>
        <dsp:cNvSpPr/>
      </dsp:nvSpPr>
      <dsp:spPr>
        <a:xfrm>
          <a:off x="1538371" y="461604"/>
          <a:ext cx="3680996" cy="3680996"/>
        </a:xfrm>
        <a:custGeom>
          <a:avLst/>
          <a:gdLst/>
          <a:ahLst/>
          <a:cxnLst/>
          <a:rect l="0" t="0" r="0" b="0"/>
          <a:pathLst>
            <a:path>
              <a:moveTo>
                <a:pt x="320330" y="802941"/>
              </a:moveTo>
              <a:arcTo wR="1840498" hR="1840498" stAng="12858876" swAng="1964384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92224" y="278663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</a:t>
          </a:r>
        </a:p>
      </dsp:txBody>
      <dsp:txXfrm>
        <a:off x="392224" y="278663"/>
        <a:ext cx="8049195" cy="513920"/>
      </dsp:txXfrm>
    </dsp:sp>
    <dsp:sp modelId="{EBBCF617-4DDB-47D0-98C7-99413FA904B7}">
      <dsp:nvSpPr>
        <dsp:cNvPr id="0" name=""/>
        <dsp:cNvSpPr/>
      </dsp:nvSpPr>
      <dsp:spPr>
        <a:xfrm>
          <a:off x="71024" y="19281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295C0-CE64-47B5-998E-77C448499C98}">
      <dsp:nvSpPr>
        <dsp:cNvPr id="0" name=""/>
        <dsp:cNvSpPr/>
      </dsp:nvSpPr>
      <dsp:spPr>
        <a:xfrm>
          <a:off x="814959" y="1027841"/>
          <a:ext cx="7626460" cy="51392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Point sur la situation sanitaire actuelle </a:t>
          </a:r>
        </a:p>
      </dsp:txBody>
      <dsp:txXfrm>
        <a:off x="814959" y="1027841"/>
        <a:ext cx="7626460" cy="513920"/>
      </dsp:txXfrm>
    </dsp:sp>
    <dsp:sp modelId="{B866E7F9-E5E7-484B-AB61-13B12708D460}">
      <dsp:nvSpPr>
        <dsp:cNvPr id="0" name=""/>
        <dsp:cNvSpPr/>
      </dsp:nvSpPr>
      <dsp:spPr>
        <a:xfrm>
          <a:off x="493759" y="963601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5CEEB8-6E5B-483B-B9F8-75ED22884F54}">
      <dsp:nvSpPr>
        <dsp:cNvPr id="0" name=""/>
        <dsp:cNvSpPr/>
      </dsp:nvSpPr>
      <dsp:spPr>
        <a:xfrm>
          <a:off x="1008265" y="1798625"/>
          <a:ext cx="7433154" cy="51392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19-2020</a:t>
          </a:r>
        </a:p>
      </dsp:txBody>
      <dsp:txXfrm>
        <a:off x="1008265" y="1798625"/>
        <a:ext cx="7433154" cy="513920"/>
      </dsp:txXfrm>
    </dsp:sp>
    <dsp:sp modelId="{7A113706-4115-4E46-A0DB-BB2E4C947383}">
      <dsp:nvSpPr>
        <dsp:cNvPr id="0" name=""/>
        <dsp:cNvSpPr/>
      </dsp:nvSpPr>
      <dsp:spPr>
        <a:xfrm>
          <a:off x="687065" y="1734385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FB06F-5233-4B87-9F90-CF49EC1E6031}">
      <dsp:nvSpPr>
        <dsp:cNvPr id="0" name=""/>
        <dsp:cNvSpPr/>
      </dsp:nvSpPr>
      <dsp:spPr>
        <a:xfrm>
          <a:off x="1008265" y="2568920"/>
          <a:ext cx="7433154" cy="51392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08265" y="2568920"/>
        <a:ext cx="7433154" cy="513920"/>
      </dsp:txXfrm>
    </dsp:sp>
    <dsp:sp modelId="{0692BF8D-B063-4580-8A2D-225A14481CCD}">
      <dsp:nvSpPr>
        <dsp:cNvPr id="0" name=""/>
        <dsp:cNvSpPr/>
      </dsp:nvSpPr>
      <dsp:spPr>
        <a:xfrm>
          <a:off x="687065" y="2504680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805B5-61E0-496D-8348-916A9D159C92}">
      <dsp:nvSpPr>
        <dsp:cNvPr id="0" name=""/>
        <dsp:cNvSpPr/>
      </dsp:nvSpPr>
      <dsp:spPr>
        <a:xfrm>
          <a:off x="814959" y="3339704"/>
          <a:ext cx="7626460" cy="51392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0-2021</a:t>
          </a:r>
        </a:p>
      </dsp:txBody>
      <dsp:txXfrm>
        <a:off x="814959" y="3339704"/>
        <a:ext cx="7626460" cy="513920"/>
      </dsp:txXfrm>
    </dsp:sp>
    <dsp:sp modelId="{1CAC461D-769E-43F1-85D8-A86E37EE9368}">
      <dsp:nvSpPr>
        <dsp:cNvPr id="0" name=""/>
        <dsp:cNvSpPr/>
      </dsp:nvSpPr>
      <dsp:spPr>
        <a:xfrm>
          <a:off x="493759" y="3275464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69084-E551-402E-95FC-95D83736201C}">
      <dsp:nvSpPr>
        <dsp:cNvPr id="0" name=""/>
        <dsp:cNvSpPr/>
      </dsp:nvSpPr>
      <dsp:spPr>
        <a:xfrm>
          <a:off x="392224" y="4110488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392224" y="4110488"/>
        <a:ext cx="8049195" cy="513920"/>
      </dsp:txXfrm>
    </dsp:sp>
    <dsp:sp modelId="{5AF5E7EE-A04D-40FC-8300-CF20EEE80831}">
      <dsp:nvSpPr>
        <dsp:cNvPr id="0" name=""/>
        <dsp:cNvSpPr/>
      </dsp:nvSpPr>
      <dsp:spPr>
        <a:xfrm>
          <a:off x="71024" y="404624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92224" y="278663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</a:t>
          </a:r>
        </a:p>
      </dsp:txBody>
      <dsp:txXfrm>
        <a:off x="392224" y="278663"/>
        <a:ext cx="8049195" cy="513920"/>
      </dsp:txXfrm>
    </dsp:sp>
    <dsp:sp modelId="{EBBCF617-4DDB-47D0-98C7-99413FA904B7}">
      <dsp:nvSpPr>
        <dsp:cNvPr id="0" name=""/>
        <dsp:cNvSpPr/>
      </dsp:nvSpPr>
      <dsp:spPr>
        <a:xfrm>
          <a:off x="71024" y="19281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295C0-CE64-47B5-998E-77C448499C98}">
      <dsp:nvSpPr>
        <dsp:cNvPr id="0" name=""/>
        <dsp:cNvSpPr/>
      </dsp:nvSpPr>
      <dsp:spPr>
        <a:xfrm>
          <a:off x="814959" y="1027841"/>
          <a:ext cx="7626460" cy="51392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Point sur la situation sanitaire actuelle </a:t>
          </a:r>
        </a:p>
      </dsp:txBody>
      <dsp:txXfrm>
        <a:off x="814959" y="1027841"/>
        <a:ext cx="7626460" cy="513920"/>
      </dsp:txXfrm>
    </dsp:sp>
    <dsp:sp modelId="{B866E7F9-E5E7-484B-AB61-13B12708D460}">
      <dsp:nvSpPr>
        <dsp:cNvPr id="0" name=""/>
        <dsp:cNvSpPr/>
      </dsp:nvSpPr>
      <dsp:spPr>
        <a:xfrm>
          <a:off x="493759" y="963601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5CEEB8-6E5B-483B-B9F8-75ED22884F54}">
      <dsp:nvSpPr>
        <dsp:cNvPr id="0" name=""/>
        <dsp:cNvSpPr/>
      </dsp:nvSpPr>
      <dsp:spPr>
        <a:xfrm>
          <a:off x="1008265" y="1798625"/>
          <a:ext cx="7433154" cy="51392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19-2020</a:t>
          </a:r>
        </a:p>
      </dsp:txBody>
      <dsp:txXfrm>
        <a:off x="1008265" y="1798625"/>
        <a:ext cx="7433154" cy="513920"/>
      </dsp:txXfrm>
    </dsp:sp>
    <dsp:sp modelId="{7A113706-4115-4E46-A0DB-BB2E4C947383}">
      <dsp:nvSpPr>
        <dsp:cNvPr id="0" name=""/>
        <dsp:cNvSpPr/>
      </dsp:nvSpPr>
      <dsp:spPr>
        <a:xfrm>
          <a:off x="687065" y="1734385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FB06F-5233-4B87-9F90-CF49EC1E6031}">
      <dsp:nvSpPr>
        <dsp:cNvPr id="0" name=""/>
        <dsp:cNvSpPr/>
      </dsp:nvSpPr>
      <dsp:spPr>
        <a:xfrm>
          <a:off x="1008265" y="2568920"/>
          <a:ext cx="7433154" cy="51392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08265" y="2568920"/>
        <a:ext cx="7433154" cy="513920"/>
      </dsp:txXfrm>
    </dsp:sp>
    <dsp:sp modelId="{0692BF8D-B063-4580-8A2D-225A14481CCD}">
      <dsp:nvSpPr>
        <dsp:cNvPr id="0" name=""/>
        <dsp:cNvSpPr/>
      </dsp:nvSpPr>
      <dsp:spPr>
        <a:xfrm>
          <a:off x="687065" y="2504680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805B5-61E0-496D-8348-916A9D159C92}">
      <dsp:nvSpPr>
        <dsp:cNvPr id="0" name=""/>
        <dsp:cNvSpPr/>
      </dsp:nvSpPr>
      <dsp:spPr>
        <a:xfrm>
          <a:off x="814959" y="3339704"/>
          <a:ext cx="7626460" cy="51392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0-2021</a:t>
          </a:r>
        </a:p>
      </dsp:txBody>
      <dsp:txXfrm>
        <a:off x="814959" y="3339704"/>
        <a:ext cx="7626460" cy="513920"/>
      </dsp:txXfrm>
    </dsp:sp>
    <dsp:sp modelId="{1CAC461D-769E-43F1-85D8-A86E37EE9368}">
      <dsp:nvSpPr>
        <dsp:cNvPr id="0" name=""/>
        <dsp:cNvSpPr/>
      </dsp:nvSpPr>
      <dsp:spPr>
        <a:xfrm>
          <a:off x="493759" y="3275464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69084-E551-402E-95FC-95D83736201C}">
      <dsp:nvSpPr>
        <dsp:cNvPr id="0" name=""/>
        <dsp:cNvSpPr/>
      </dsp:nvSpPr>
      <dsp:spPr>
        <a:xfrm>
          <a:off x="392224" y="4110488"/>
          <a:ext cx="8049195" cy="5139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792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392224" y="4110488"/>
        <a:ext cx="8049195" cy="513920"/>
      </dsp:txXfrm>
    </dsp:sp>
    <dsp:sp modelId="{5AF5E7EE-A04D-40FC-8300-CF20EEE80831}">
      <dsp:nvSpPr>
        <dsp:cNvPr id="0" name=""/>
        <dsp:cNvSpPr/>
      </dsp:nvSpPr>
      <dsp:spPr>
        <a:xfrm>
          <a:off x="71024" y="4046247"/>
          <a:ext cx="642401" cy="64240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wrap="square" lIns="94796" tIns="47398" rIns="94796" bIns="4739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6BA053A-33DE-1A41-8644-094BC57997AE}" type="datetime1">
              <a:rPr lang="fr-FR"/>
              <a:pPr/>
              <a:t>28/11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0673"/>
            <a:ext cx="3079202" cy="512303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3203" y="9720673"/>
            <a:ext cx="3079202" cy="512303"/>
          </a:xfrm>
          <a:prstGeom prst="rect">
            <a:avLst/>
          </a:prstGeom>
        </p:spPr>
        <p:txBody>
          <a:bodyPr vert="horz" wrap="square" lIns="94796" tIns="47398" rIns="94796" bIns="4739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D57BE7FE-E4A3-0A4D-9492-11C4CDC0319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2341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wrap="square" lIns="94796" tIns="47398" rIns="94796" bIns="4739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36969-D6F7-F94C-8D5E-FCC412260ED5}" type="datetime1">
              <a:rPr lang="fr-FR"/>
              <a:pPr/>
              <a:t>28/11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8350"/>
            <a:ext cx="51165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6" tIns="47398" rIns="94796" bIns="47398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10075" y="4861155"/>
            <a:ext cx="5683914" cy="4605821"/>
          </a:xfrm>
          <a:prstGeom prst="rect">
            <a:avLst/>
          </a:prstGeom>
        </p:spPr>
        <p:txBody>
          <a:bodyPr vert="horz" lIns="94796" tIns="47398" rIns="94796" bIns="47398" rtlCol="0">
            <a:normAutofit/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0673"/>
            <a:ext cx="3079202" cy="512303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203" y="9720673"/>
            <a:ext cx="3079202" cy="512303"/>
          </a:xfrm>
          <a:prstGeom prst="rect">
            <a:avLst/>
          </a:prstGeom>
        </p:spPr>
        <p:txBody>
          <a:bodyPr vert="horz" wrap="square" lIns="94796" tIns="47398" rIns="94796" bIns="4739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53EB7-FBAD-6F4B-9076-286EBF24A43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5816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déb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/>
          </a:p>
        </p:txBody>
      </p:sp>
      <p:pic>
        <p:nvPicPr>
          <p:cNvPr id="6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325" y="0"/>
            <a:ext cx="28797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55576" y="1628800"/>
            <a:ext cx="7772400" cy="100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28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27176" y="2780928"/>
            <a:ext cx="6400800" cy="10715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280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7" name="Espace réservé de la date 7"/>
          <p:cNvSpPr>
            <a:spLocks noGrp="1"/>
          </p:cNvSpPr>
          <p:nvPr>
            <p:ph type="dt" sz="half" idx="10"/>
          </p:nvPr>
        </p:nvSpPr>
        <p:spPr>
          <a:xfrm>
            <a:off x="457200" y="6021388"/>
            <a:ext cx="2133600" cy="365125"/>
          </a:xfrm>
        </p:spPr>
        <p:txBody>
          <a:bodyPr/>
          <a:lstStyle>
            <a:lvl1pPr>
              <a:defRPr sz="1800">
                <a:solidFill>
                  <a:srgbClr val="F18B2E"/>
                </a:solidFill>
                <a:cs typeface="Arial" charset="0"/>
              </a:defRPr>
            </a:lvl1pPr>
          </a:lstStyle>
          <a:p>
            <a:fld id="{3B3F0EE5-B9A6-4707-9876-B80B38EB6C3A}" type="datetime1">
              <a:rPr lang="fr-FR" smtClean="0"/>
              <a:pPr/>
              <a:t>28/11/20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332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264400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7705725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CD7A03-5B65-994C-83CB-9A48F4F7C8EC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270C17-A942-428D-A484-6D4963496A06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23089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756376-2475-D747-ACF9-EA860B353B8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19EB8C-A8F2-49EC-A8D6-171D4060586F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305821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1BD3B8-1126-FE4F-BE67-0BA2363E936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EC7B6EE-D6B4-4A8F-A1A8-F15DCB028669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33689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B72494-7E8D-764A-A7F3-2C623CB559DF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49CE20E-3BA7-4D5E-B8EB-1B6BDFB6F6B9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192425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05A5F7-49BB-DE43-94AA-E6246ECB3A40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1EBA55B-4AD3-4EB4-A062-8D7E33EB5E45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89777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C01B0D-47AD-C94F-AF57-90F3E31F95B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027B083-E429-456A-8291-90538FEB539E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0102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7C5AB0-3378-9D46-9B4B-128089A4BD7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91642AF-71A7-4F53-99D7-0D4273FC5534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084183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8450" y="307975"/>
            <a:ext cx="1843088" cy="4849813"/>
          </a:xfrm>
        </p:spPr>
        <p:txBody>
          <a:bodyPr vert="eaVert"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116013" y="307975"/>
            <a:ext cx="5380037" cy="484981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4A30A7-88FD-E242-8EA5-929F059010C6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883A85-CC94-485C-B6A3-125F21404FAF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01872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95536" y="1714488"/>
            <a:ext cx="8424936" cy="3802744"/>
          </a:xfrm>
          <a:prstGeom prst="rect">
            <a:avLst/>
          </a:prstGeom>
        </p:spPr>
        <p:txBody>
          <a:bodyPr/>
          <a:lstStyle>
            <a:lvl1pPr marL="0" indent="-414000">
              <a:spcBef>
                <a:spcPts val="600"/>
              </a:spcBef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 marL="432000" indent="-180000">
              <a:buClr>
                <a:srgbClr val="463436"/>
              </a:buClr>
              <a:buSzPct val="100000"/>
              <a:buFont typeface="Lucida Grande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2pPr>
            <a:lvl3pPr marL="604800" indent="-180000">
              <a:buFont typeface="Arial" pitchFamily="34" charset="0"/>
              <a:buChar char="•"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3pPr>
            <a:lvl4pPr marL="900000" indent="-180000">
              <a:defRPr sz="12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5pPr>
            <a:lvl6pPr>
              <a:buFont typeface="Courier New" pitchFamily="49" charset="0"/>
              <a:buChar char="o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6pPr>
            <a:lvl7pPr>
              <a:buFont typeface="Wingdings" pitchFamily="2" charset="2"/>
              <a:buChar char="ü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7pPr>
            <a:lvl8pPr>
              <a:buFont typeface="Wingdings" pitchFamily="2" charset="2"/>
              <a:buChar char="§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8pPr>
            <a:lvl9pPr>
              <a:buFont typeface="Arial" pitchFamily="34" charset="0"/>
              <a:buChar char="−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1F3963A-43DD-EB43-A4D9-AE3239085684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94697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ous-titre 2"/>
          <p:cNvSpPr>
            <a:spLocks noGrp="1"/>
          </p:cNvSpPr>
          <p:nvPr>
            <p:ph type="subTitle" idx="1"/>
          </p:nvPr>
        </p:nvSpPr>
        <p:spPr>
          <a:xfrm>
            <a:off x="2090882" y="3429000"/>
            <a:ext cx="6400800" cy="10715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2800" b="1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719282" y="1923868"/>
            <a:ext cx="7772400" cy="1470025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algn="r">
              <a:defRPr sz="3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7A4251-82A4-1144-8CA4-466AE71FDCFB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F5B08B1-E130-4785-968A-0E97F090C81C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586102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13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827584" y="2428868"/>
            <a:ext cx="8247290" cy="3571900"/>
          </a:xfrm>
          <a:prstGeom prst="rect">
            <a:avLst/>
          </a:prstGeom>
        </p:spPr>
        <p:txBody>
          <a:bodyPr/>
          <a:lstStyle>
            <a:lvl1pPr marL="1588" indent="-1588" algn="just">
              <a:buFont typeface="Arial" pitchFamily="34" charset="0"/>
              <a:buNone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4AAB9A-83AE-584E-8D12-D8C74D9C9CA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fld id="{10EC6AF3-B907-4D04-B68F-EBD5D641FA97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93246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AF200E0-C85F-3A4A-848A-643236141C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60218F76-A6DA-4797-AE6F-3A1BC664F282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47980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8331200" y="6616700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fr-FR" sz="1800" dirty="0">
              <a:ea typeface="+mn-ea"/>
              <a:cs typeface="+mn-cs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25" y="3276600"/>
            <a:ext cx="72199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286000" y="685800"/>
            <a:ext cx="4585492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0" y="6477000"/>
            <a:ext cx="9144000" cy="381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858403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D2978E-2CE7-D545-A572-DBCEF7B3B14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36E08A9-7B66-490D-A76C-2F768EE1CE5E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213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AF95D1-4956-214C-8F5D-A8F941D5211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19135237-E8D9-4890-9612-1C24A2FA43A0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53905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CA3F5F-D417-FE45-BA36-FD72AD16D5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E1AC0B1-31F5-4DD5-B06C-E055F2486436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97441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54486" y="6306797"/>
            <a:ext cx="1512604" cy="418744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/>
              <a:t>L'HERBLAISIENNE –</a:t>
            </a:r>
          </a:p>
          <a:p>
            <a:pPr algn="ctr">
              <a:defRPr/>
            </a:pPr>
            <a:r>
              <a:rPr lang="fr-FR" sz="800" dirty="0"/>
              <a:t>43 rue du Général de Gaulle</a:t>
            </a:r>
          </a:p>
          <a:p>
            <a:pPr algn="ctr">
              <a:defRPr/>
            </a:pPr>
            <a:r>
              <a:rPr lang="fr-FR" sz="800" dirty="0"/>
              <a:t> 95220 HERBLAY</a:t>
            </a:r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3896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Arial" charset="0"/>
              </a:defRPr>
            </a:lvl1pPr>
          </a:lstStyle>
          <a:p>
            <a:fld id="{F8A22C28-2E41-8349-AB9D-CE900EF092C8}" type="slidenum">
              <a:rPr lang="fr-FR"/>
              <a:pPr/>
              <a:t>‹N°›</a:t>
            </a:fld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DC4C2F6-4744-4488-8FC2-4C25EAB392D1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28" name="Object 1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34828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26" name="Rectangle 10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16013" y="1924050"/>
            <a:ext cx="7375525" cy="32337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br>
              <a:rPr lang="fr-FR"/>
            </a:br>
            <a:br>
              <a:rPr lang="fr-FR"/>
            </a:br>
            <a:endParaRPr lang="fr-FR"/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800"/>
              <a:t> </a:t>
            </a:r>
          </a:p>
        </p:txBody>
      </p:sp>
      <p:pic>
        <p:nvPicPr>
          <p:cNvPr id="34819" name="Image 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175" y="6524625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ag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age 7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45172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fld id="{41556B01-E030-8F4C-8743-8C9CBC617DA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A9D0F6A0-4F59-4D68-AD96-758C0746EA59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</a:p>
        </p:txBody>
      </p:sp>
      <p:sp>
        <p:nvSpPr>
          <p:cNvPr id="34827" name="Rectangle 11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264400" y="307975"/>
            <a:ext cx="7302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#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/>
  <p:txStyles>
    <p:titleStyle>
      <a:lvl1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+mj-lt"/>
          <a:ea typeface="+mj-ea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2pPr>
      <a:lvl3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3pPr>
      <a:lvl4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4pPr>
      <a:lvl5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algn="ctr" rtl="0" fontAlgn="base">
        <a:spcBef>
          <a:spcPct val="20000"/>
        </a:spcBef>
        <a:spcAft>
          <a:spcPct val="0"/>
        </a:spcAft>
        <a:buFont typeface="Arial" charset="0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defRPr sz="2800">
          <a:solidFill>
            <a:schemeClr val="tx1"/>
          </a:solidFill>
          <a:latin typeface="Calibri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Calibri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2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2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20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2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20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1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755650" y="1628775"/>
            <a:ext cx="7772400" cy="100012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cap="none" dirty="0">
                <a:latin typeface="Arial" charset="0"/>
                <a:cs typeface="Arial" charset="0"/>
              </a:rPr>
              <a:t>Assemblée </a:t>
            </a:r>
            <a:br>
              <a:rPr lang="fr-FR" cap="none" dirty="0">
                <a:latin typeface="Arial" charset="0"/>
                <a:cs typeface="Arial" charset="0"/>
              </a:rPr>
            </a:br>
            <a:r>
              <a:rPr lang="fr-FR" cap="none" dirty="0">
                <a:latin typeface="Arial" charset="0"/>
                <a:cs typeface="Arial" charset="0"/>
              </a:rPr>
              <a:t>Générale Ordinaire </a:t>
            </a:r>
          </a:p>
        </p:txBody>
      </p:sp>
      <p:sp>
        <p:nvSpPr>
          <p:cNvPr id="10243" name="Sous-titre 3"/>
          <p:cNvSpPr>
            <a:spLocks noGrp="1"/>
          </p:cNvSpPr>
          <p:nvPr>
            <p:ph type="subTitle" idx="1"/>
          </p:nvPr>
        </p:nvSpPr>
        <p:spPr bwMode="auto">
          <a:xfrm>
            <a:off x="4727274" y="2781300"/>
            <a:ext cx="3800775" cy="107156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>
                <a:latin typeface="Arial" charset="0"/>
                <a:cs typeface="Arial" charset="0"/>
              </a:rPr>
              <a:t>27 Novembre 2020</a:t>
            </a:r>
          </a:p>
          <a:p>
            <a:pPr algn="ctr"/>
            <a:r>
              <a:rPr lang="fr-FR" dirty="0">
                <a:solidFill>
                  <a:srgbClr val="FF0000"/>
                </a:solidFill>
                <a:latin typeface="Arial" charset="0"/>
                <a:cs typeface="Arial" charset="0"/>
              </a:rPr>
              <a:t>Bienvenue</a:t>
            </a:r>
          </a:p>
        </p:txBody>
      </p:sp>
      <p:sp>
        <p:nvSpPr>
          <p:cNvPr id="7" name="Rectangle 6"/>
          <p:cNvSpPr/>
          <p:nvPr/>
        </p:nvSpPr>
        <p:spPr>
          <a:xfrm>
            <a:off x="2544792" y="3838755"/>
            <a:ext cx="45719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035170" y="3579962"/>
            <a:ext cx="3148641" cy="370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108" name="Picture 4" descr="https://www.lherblaisienne.fr/media/uploaded/sites/10021/partenaire/56be3c055f114_logofondblancffba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6752" y="3860049"/>
            <a:ext cx="1690477" cy="2173470"/>
          </a:xfrm>
          <a:prstGeom prst="rect">
            <a:avLst/>
          </a:prstGeom>
          <a:noFill/>
        </p:spPr>
      </p:pic>
      <p:pic>
        <p:nvPicPr>
          <p:cNvPr id="47110" name="Picture 6" descr="Fédération Française de Gymnastiqu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49673" y="4174757"/>
            <a:ext cx="1759489" cy="1114344"/>
          </a:xfrm>
          <a:prstGeom prst="rect">
            <a:avLst/>
          </a:prstGeom>
          <a:noFill/>
        </p:spPr>
      </p:pic>
      <p:pic>
        <p:nvPicPr>
          <p:cNvPr id="2050" name="Picture 2" descr="Covid 19 - communiqué du Maire - 30 Octobre Fermeture des Gymnases -  L'HERBLAISIENNE : BADMINTON, GYMNASTIQUE MASCULINE à Herblay (Val d'Oise -  95)">
            <a:extLst>
              <a:ext uri="{FF2B5EF4-FFF2-40B4-BE49-F238E27FC236}">
                <a16:creationId xmlns:a16="http://schemas.microsoft.com/office/drawing/2014/main" id="{44B95989-A7FD-4F52-B8A2-B146DDEC5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145" y="1002333"/>
            <a:ext cx="4110855" cy="177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257C48DB-17EC-4BEF-A1EE-736685355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415" y="3765430"/>
            <a:ext cx="2724150" cy="167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6005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ymnastique mascu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6AF261B-E250-4B36-B10B-AF89433F06DA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B1AF47F-3379-4B53-93C9-E12A157B58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238" y="786203"/>
            <a:ext cx="2857497" cy="180975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F55041D-86CC-4671-9FD6-99C71EF898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61" y="4378726"/>
            <a:ext cx="2727697" cy="204577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E1CE911-E5D7-4495-A112-66DB740A05A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0624" y="2689163"/>
            <a:ext cx="2675273" cy="200645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CC22257-C112-4D64-A567-BBCD286DB65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628" y="4317919"/>
            <a:ext cx="2675273" cy="200645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F0B2881-70F7-4CC1-9197-DFBE9F8586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1288" y="681651"/>
            <a:ext cx="3057952" cy="2000529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EB1E07B-E266-41BF-B826-7727C74BB3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6958" y="1527628"/>
            <a:ext cx="4874114" cy="1212421"/>
          </a:xfrm>
        </p:spPr>
        <p:txBody>
          <a:bodyPr/>
          <a:lstStyle/>
          <a:p>
            <a:pPr indent="0" algn="ctr">
              <a:buNone/>
            </a:pPr>
            <a:r>
              <a:rPr lang="fr-FR" dirty="0"/>
              <a:t> </a:t>
            </a:r>
            <a:r>
              <a:rPr lang="fr-FR" sz="2400" dirty="0"/>
              <a:t>+</a:t>
            </a:r>
            <a:r>
              <a:rPr lang="fr-FR" sz="2400" dirty="0">
                <a:solidFill>
                  <a:srgbClr val="00B050"/>
                </a:solidFill>
              </a:rPr>
              <a:t> complément de salaire pour tous les salariés du club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ECD0374-1159-4A90-9B64-46E6F5A5E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F7B4A6C-4015-459C-9CC3-A21764C0BC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DF15259-EEAE-4DE3-AEA4-65A5CAED464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3BE987C-03A0-4C1D-956C-FF402AA9EE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D15643F-8A12-4E4E-8C52-8D6B1D3080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28" y="1463521"/>
            <a:ext cx="2876951" cy="1276528"/>
          </a:xfrm>
          <a:prstGeom prst="rect">
            <a:avLst/>
          </a:prstGeom>
        </p:spPr>
      </p:pic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E9EDBC8F-F166-446E-8E32-BD810CE130FA}"/>
              </a:ext>
            </a:extLst>
          </p:cNvPr>
          <p:cNvSpPr txBox="1">
            <a:spLocks/>
          </p:cNvSpPr>
          <p:nvPr/>
        </p:nvSpPr>
        <p:spPr>
          <a:xfrm>
            <a:off x="3926958" y="3870195"/>
            <a:ext cx="4874114" cy="2326068"/>
          </a:xfrm>
          <a:prstGeom prst="rect">
            <a:avLst/>
          </a:prstGeom>
        </p:spPr>
        <p:txBody>
          <a:bodyPr/>
          <a:lstStyle>
            <a:lvl1pPr marL="0" indent="-414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432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63436"/>
              </a:buClr>
              <a:buSzPct val="100000"/>
              <a:buFont typeface="Lucida Grande"/>
              <a:buChar char="‣"/>
              <a:defRPr sz="1600" b="1" kern="1200" baseline="0">
                <a:solidFill>
                  <a:srgbClr val="F18B2E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6048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3pPr>
            <a:lvl4pPr marL="90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−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indent="0" algn="ctr">
              <a:buFontTx/>
              <a:buNone/>
            </a:pPr>
            <a:r>
              <a:rPr lang="fr-FR" dirty="0"/>
              <a:t> </a:t>
            </a:r>
            <a:r>
              <a:rPr lang="fr-FR" sz="1800" dirty="0">
                <a:solidFill>
                  <a:srgbClr val="FF0000"/>
                </a:solidFill>
              </a:rPr>
              <a:t>Pas de remboursement de cotisations pour anticiper les difficultés à venir :</a:t>
            </a:r>
          </a:p>
          <a:p>
            <a:pPr indent="0" algn="ctr">
              <a:buFontTx/>
              <a:buNone/>
            </a:pPr>
            <a:r>
              <a:rPr lang="fr-FR" sz="1800" dirty="0">
                <a:solidFill>
                  <a:srgbClr val="FF0000"/>
                </a:solidFill>
              </a:rPr>
              <a:t>2eme vague COVID ?</a:t>
            </a:r>
          </a:p>
          <a:p>
            <a:pPr indent="0" algn="ctr">
              <a:buFontTx/>
              <a:buNone/>
            </a:pPr>
            <a:r>
              <a:rPr lang="fr-FR" sz="1800" dirty="0">
                <a:solidFill>
                  <a:srgbClr val="FF0000"/>
                </a:solidFill>
              </a:rPr>
              <a:t>Perte Sponsor ?</a:t>
            </a:r>
          </a:p>
          <a:p>
            <a:pPr indent="0" algn="ctr">
              <a:buFontTx/>
              <a:buNone/>
            </a:pPr>
            <a:r>
              <a:rPr lang="fr-FR" sz="1800" dirty="0">
                <a:solidFill>
                  <a:srgbClr val="FF0000"/>
                </a:solidFill>
              </a:rPr>
              <a:t>Pertes d’adhérents ?</a:t>
            </a:r>
          </a:p>
          <a:p>
            <a:pPr indent="0" algn="ctr">
              <a:buFontTx/>
              <a:buNone/>
            </a:pPr>
            <a:r>
              <a:rPr lang="fr-FR" sz="1800" dirty="0">
                <a:solidFill>
                  <a:srgbClr val="FF0000"/>
                </a:solidFill>
              </a:rPr>
              <a:t>Interrogations sur subventions ?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E68006-EE5A-4B1C-9091-B35C40B823F3}"/>
              </a:ext>
            </a:extLst>
          </p:cNvPr>
          <p:cNvSpPr/>
          <p:nvPr/>
        </p:nvSpPr>
        <p:spPr>
          <a:xfrm>
            <a:off x="1179095" y="5161547"/>
            <a:ext cx="1118937" cy="324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126" name="Picture 6" descr="Euro Symbol Rotating : vidéos de stock (100 % libres de droit) 1730128 |  Shutterstock">
            <a:extLst>
              <a:ext uri="{FF2B5EF4-FFF2-40B4-BE49-F238E27FC236}">
                <a16:creationId xmlns:a16="http://schemas.microsoft.com/office/drawing/2014/main" id="{5FDC0F48-B0B6-4FDC-BE31-68925C191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03" y="3876675"/>
            <a:ext cx="2847975" cy="160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29388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2DB8836-A775-4D1C-9430-30EEEABAD8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75" y="1502440"/>
            <a:ext cx="4594320" cy="3639945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67F8C35-6C7D-4F93-8003-B541802A6A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5583" y="2292415"/>
            <a:ext cx="3826042" cy="2273169"/>
          </a:xfrm>
        </p:spPr>
        <p:txBody>
          <a:bodyPr/>
          <a:lstStyle/>
          <a:p>
            <a:pPr indent="0" algn="ctr">
              <a:buNone/>
            </a:pPr>
            <a:r>
              <a:rPr lang="fr-FR" sz="3600" dirty="0">
                <a:solidFill>
                  <a:schemeClr val="accent2"/>
                </a:solidFill>
              </a:rPr>
              <a:t>Perte de notre sponsor </a:t>
            </a:r>
          </a:p>
          <a:p>
            <a:pPr indent="0" algn="ctr">
              <a:buNone/>
            </a:pPr>
            <a:r>
              <a:rPr lang="fr-FR" sz="3600" dirty="0">
                <a:solidFill>
                  <a:schemeClr val="accent2"/>
                </a:solidFill>
              </a:rPr>
              <a:t>en Juin 2020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EC0B1B-C9E0-420E-926B-607BD4ECB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FDCFD55-1927-4600-9711-70556B034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C5FD165-8C4E-47C9-BA9F-C94EEEB8689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25B33D3-2FCF-467F-B475-C8BAE98F31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043733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9461E96-BF5A-4775-931A-354310BD04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046442"/>
            <a:ext cx="8424936" cy="5550910"/>
          </a:xfrm>
        </p:spPr>
        <p:txBody>
          <a:bodyPr/>
          <a:lstStyle/>
          <a:p>
            <a:r>
              <a:rPr lang="fr-FR" dirty="0"/>
              <a:t>En septembre 2021 : Arrivée de Jonathan PASTEN pour renforcer l’encadrement GYMNASTIQUE </a:t>
            </a:r>
          </a:p>
          <a:p>
            <a:endParaRPr lang="fr-FR" dirty="0"/>
          </a:p>
          <a:p>
            <a:r>
              <a:rPr lang="fr-FR" dirty="0"/>
              <a:t>En octobre 2021 : nouveau partenariat 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 Le 17 octobre : Tournoi interne Bad</a:t>
            </a:r>
          </a:p>
          <a:p>
            <a:endParaRPr lang="fr-FR" dirty="0"/>
          </a:p>
          <a:p>
            <a:r>
              <a:rPr lang="fr-FR" dirty="0"/>
              <a:t>En attendant de se revoir dans les gymnases  </a:t>
            </a:r>
          </a:p>
          <a:p>
            <a:endParaRPr lang="fr-FR" dirty="0"/>
          </a:p>
          <a:p>
            <a:endParaRPr lang="fr-FR" dirty="0"/>
          </a:p>
          <a:p>
            <a:pPr lvl="1"/>
            <a:r>
              <a:rPr lang="fr-FR" dirty="0"/>
              <a:t>Retrouvons nous par groupe 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r>
              <a:rPr lang="fr-FR" dirty="0"/>
              <a:t>Gardons la forme : </a:t>
            </a:r>
            <a:r>
              <a:rPr lang="fr-FR" dirty="0">
                <a:solidFill>
                  <a:schemeClr val="accent1"/>
                </a:solidFill>
              </a:rPr>
              <a:t>SOLLICITEZ LES ENTRAINEURS</a:t>
            </a:r>
          </a:p>
          <a:p>
            <a:pPr lvl="1"/>
            <a:endParaRPr lang="fr-FR" dirty="0"/>
          </a:p>
          <a:p>
            <a:pPr marL="252000" lvl="1" indent="0">
              <a:buNone/>
            </a:pPr>
            <a:endParaRPr lang="fr-FR" dirty="0"/>
          </a:p>
          <a:p>
            <a:pPr lvl="1"/>
            <a:endParaRPr lang="fr-FR" dirty="0"/>
          </a:p>
          <a:p>
            <a:pPr marL="252000" lvl="1" indent="0">
              <a:buNone/>
            </a:pPr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marL="252000" lvl="1" indent="0">
              <a:buNone/>
            </a:pP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5EA5085-90E0-4FEA-8A11-9733AC2CA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saison 2021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25E15D4-6047-4D7F-9C58-6360CDC637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3A323DC-55DF-4348-BBA0-4F21F724504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7CC1F59-8604-47DC-B9D8-86077DD0F9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274F436-9D79-4A1D-818E-9F8FC8865E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354" y="2179127"/>
            <a:ext cx="3997060" cy="109518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15476F8-936C-438E-A704-D23D01EAFA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245" y="2299803"/>
            <a:ext cx="4293460" cy="888302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B6BF747-C7F9-49C5-B950-20C39D353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9997" y="4743546"/>
            <a:ext cx="1735520" cy="106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 descr="Une image contenant personne, bâtiment, banc, en bois&#10;&#10;Description générée automatiquement">
            <a:extLst>
              <a:ext uri="{FF2B5EF4-FFF2-40B4-BE49-F238E27FC236}">
                <a16:creationId xmlns:a16="http://schemas.microsoft.com/office/drawing/2014/main" id="{079F5F3A-111F-4E16-8394-A74343FBBF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943" y="3188105"/>
            <a:ext cx="2455177" cy="184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9944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F218880-18C0-4369-B154-B93B86EED8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420" y="1903295"/>
            <a:ext cx="7552480" cy="3764476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92E42A0-F9DB-4468-A6EA-533AC8535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A20C822-648B-4312-8F78-BF0E69C94F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C1DE13-D28A-4EDD-804B-21AC1983181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9C9BB54-9D93-4C3C-BCC4-96AF12C215C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52A70E6-1407-4350-B511-276CCFB8C33E}"/>
              </a:ext>
            </a:extLst>
          </p:cNvPr>
          <p:cNvSpPr/>
          <p:nvPr/>
        </p:nvSpPr>
        <p:spPr>
          <a:xfrm>
            <a:off x="705870" y="4572677"/>
            <a:ext cx="7438030" cy="10950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16103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 QUESTIONS SUR LE RAPPORT </a:t>
            </a:r>
          </a:p>
          <a:p>
            <a:pPr>
              <a:buNone/>
            </a:pPr>
            <a:r>
              <a:rPr lang="fr-FR" sz="2800" dirty="0"/>
              <a:t>             MORAL DU PRESIDENT ?</a:t>
            </a:r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 APPROBATION 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ESE 2019 - 202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43DA07-AC1A-402B-9760-FD886FBEF874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8/11/2020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42988" y="2161058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8352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E12F59F-E331-4BDB-B310-91C8366EC643}"/>
              </a:ext>
            </a:extLst>
          </p:cNvPr>
          <p:cNvSpPr/>
          <p:nvPr/>
        </p:nvSpPr>
        <p:spPr>
          <a:xfrm>
            <a:off x="5181327" y="4036141"/>
            <a:ext cx="3529263" cy="18528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6EB658-EA9B-47EE-BEE7-327F402CBCBD}"/>
              </a:ext>
            </a:extLst>
          </p:cNvPr>
          <p:cNvSpPr/>
          <p:nvPr/>
        </p:nvSpPr>
        <p:spPr>
          <a:xfrm>
            <a:off x="609600" y="4018547"/>
            <a:ext cx="3529263" cy="18528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03F083D-C967-485A-A4EC-3F4DF034F8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3463" y="4316919"/>
            <a:ext cx="2818220" cy="1372151"/>
          </a:xfrm>
        </p:spPr>
        <p:txBody>
          <a:bodyPr/>
          <a:lstStyle/>
          <a:p>
            <a:pPr indent="0" algn="ctr">
              <a:buNone/>
            </a:pPr>
            <a:r>
              <a:rPr lang="fr-FR" sz="2400" dirty="0">
                <a:solidFill>
                  <a:srgbClr val="00B050"/>
                </a:solidFill>
              </a:rPr>
              <a:t>Association sportive</a:t>
            </a:r>
          </a:p>
          <a:p>
            <a:pPr indent="0" algn="ctr">
              <a:buNone/>
            </a:pPr>
            <a:r>
              <a:rPr lang="fr-FR" sz="2400" dirty="0">
                <a:solidFill>
                  <a:srgbClr val="00B050"/>
                </a:solidFill>
              </a:rPr>
              <a:t>Esprit + Valeur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890CEF-531F-4523-A5C7-F5839ABF8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e PAS CONFONDR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013FC0B-CBD7-48E9-9405-894E1945BA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45A347A-989A-4DD0-8038-F1A04A3DB00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4606AB6-CE0C-40A3-8510-EF98CB3ACEF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74BDA66-4B2B-4C73-80B8-B0307C0C1C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546846"/>
            <a:ext cx="3353268" cy="223868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2B9ECCF8-D402-4465-8281-4A6C1F159F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519" y="1637357"/>
            <a:ext cx="3176881" cy="2148176"/>
          </a:xfrm>
          <a:prstGeom prst="rect">
            <a:avLst/>
          </a:prstGeom>
        </p:spPr>
      </p:pic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56BECCC8-D08F-4C72-8A89-5FED3C925993}"/>
              </a:ext>
            </a:extLst>
          </p:cNvPr>
          <p:cNvSpPr txBox="1">
            <a:spLocks/>
          </p:cNvSpPr>
          <p:nvPr/>
        </p:nvSpPr>
        <p:spPr>
          <a:xfrm>
            <a:off x="5529855" y="4181876"/>
            <a:ext cx="2818220" cy="1352649"/>
          </a:xfrm>
          <a:prstGeom prst="rect">
            <a:avLst/>
          </a:prstGeom>
        </p:spPr>
        <p:txBody>
          <a:bodyPr/>
          <a:lstStyle>
            <a:lvl1pPr marL="0" indent="-414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4"/>
              </a:buBlip>
              <a:defRPr sz="1600" b="1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432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63436"/>
              </a:buClr>
              <a:buSzPct val="100000"/>
              <a:buFont typeface="Lucida Grande"/>
              <a:buChar char="‣"/>
              <a:defRPr sz="1600" b="1" kern="1200" baseline="0">
                <a:solidFill>
                  <a:srgbClr val="F18B2E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6048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3pPr>
            <a:lvl4pPr marL="90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−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indent="0" algn="ctr">
              <a:buFontTx/>
              <a:buNone/>
            </a:pPr>
            <a:r>
              <a:rPr lang="fr-FR" sz="2000" dirty="0">
                <a:solidFill>
                  <a:schemeClr val="accent2"/>
                </a:solidFill>
              </a:rPr>
              <a:t>Salle de sport</a:t>
            </a:r>
          </a:p>
          <a:p>
            <a:pPr indent="0" algn="ctr">
              <a:buFontTx/>
              <a:buNone/>
            </a:pPr>
            <a:r>
              <a:rPr lang="fr-FR" sz="2000" dirty="0">
                <a:solidFill>
                  <a:schemeClr val="accent2"/>
                </a:solidFill>
              </a:rPr>
              <a:t>Entreprise avec Bénéfices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7A906C2-4948-4C6F-BE55-38CA14DB9F24}"/>
              </a:ext>
            </a:extLst>
          </p:cNvPr>
          <p:cNvCxnSpPr/>
          <p:nvPr/>
        </p:nvCxnSpPr>
        <p:spPr>
          <a:xfrm flipH="1">
            <a:off x="5181327" y="1191126"/>
            <a:ext cx="3192652" cy="5262062"/>
          </a:xfrm>
          <a:prstGeom prst="line">
            <a:avLst/>
          </a:prstGeom>
          <a:ln w="101600" cmpd="sng">
            <a:solidFill>
              <a:srgbClr val="E452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9891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41A33D7-FF2E-4976-9F8D-A9CD3540BF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3514" y="260648"/>
            <a:ext cx="5538411" cy="308597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A7A0202-D420-4389-AF8B-4F5B5E76A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7663" y="3499999"/>
            <a:ext cx="5538410" cy="2728380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C15236F-E190-4951-91B5-608270B06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29E5B3F-3A53-4C42-90C9-A6EE1CFD75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A6602EC-1631-4857-9D3A-11F2C08C878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7F7DABA-AB0C-4D91-93AD-5250AE0956E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10" name="Flèche : droite 9">
            <a:extLst>
              <a:ext uri="{FF2B5EF4-FFF2-40B4-BE49-F238E27FC236}">
                <a16:creationId xmlns:a16="http://schemas.microsoft.com/office/drawing/2014/main" id="{F5577261-C4A6-448C-B39A-0A7C389685BF}"/>
              </a:ext>
            </a:extLst>
          </p:cNvPr>
          <p:cNvSpPr/>
          <p:nvPr/>
        </p:nvSpPr>
        <p:spPr>
          <a:xfrm>
            <a:off x="575935" y="4776536"/>
            <a:ext cx="911992" cy="649706"/>
          </a:xfrm>
          <a:prstGeom prst="rightArrow">
            <a:avLst/>
          </a:prstGeom>
          <a:solidFill>
            <a:srgbClr val="E41B0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lèche : gauche 10">
            <a:extLst>
              <a:ext uri="{FF2B5EF4-FFF2-40B4-BE49-F238E27FC236}">
                <a16:creationId xmlns:a16="http://schemas.microsoft.com/office/drawing/2014/main" id="{E3A8250A-582D-48D6-BC69-FAE52C040310}"/>
              </a:ext>
            </a:extLst>
          </p:cNvPr>
          <p:cNvSpPr/>
          <p:nvPr/>
        </p:nvSpPr>
        <p:spPr>
          <a:xfrm>
            <a:off x="7820526" y="1443789"/>
            <a:ext cx="1034716" cy="613611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04776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103750E-B1DA-448B-A337-DD950510EF9F}"/>
              </a:ext>
            </a:extLst>
          </p:cNvPr>
          <p:cNvSpPr/>
          <p:nvPr/>
        </p:nvSpPr>
        <p:spPr>
          <a:xfrm>
            <a:off x="4372970" y="1919944"/>
            <a:ext cx="4412461" cy="25794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DEF686D-C0ED-43E1-99E1-A859DC0215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EBDFD5C-1827-4B6A-B1CE-324F45BC171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AC2D43F-0338-469D-8E38-22293659C5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BD67988-F545-4BDE-A192-D1FD1F4061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052" y="4151194"/>
            <a:ext cx="3532162" cy="245455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8179540-F457-40B3-A060-538F3E364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624" y="471086"/>
            <a:ext cx="2876951" cy="1276528"/>
          </a:xfrm>
          <a:prstGeom prst="rect">
            <a:avLst/>
          </a:prstGeom>
        </p:spPr>
      </p:pic>
      <p:sp>
        <p:nvSpPr>
          <p:cNvPr id="11" name="Espace réservé du texte 1">
            <a:extLst>
              <a:ext uri="{FF2B5EF4-FFF2-40B4-BE49-F238E27FC236}">
                <a16:creationId xmlns:a16="http://schemas.microsoft.com/office/drawing/2014/main" id="{1711B8C4-F35D-4E94-87E2-3ADA4D799F29}"/>
              </a:ext>
            </a:extLst>
          </p:cNvPr>
          <p:cNvSpPr txBox="1">
            <a:spLocks/>
          </p:cNvSpPr>
          <p:nvPr/>
        </p:nvSpPr>
        <p:spPr>
          <a:xfrm>
            <a:off x="3946358" y="449649"/>
            <a:ext cx="4874114" cy="12124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>
            <a:lvl1pPr marL="0" indent="-414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4"/>
              </a:buBlip>
              <a:defRPr sz="1600" b="1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432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63436"/>
              </a:buClr>
              <a:buSzPct val="100000"/>
              <a:buFont typeface="Lucida Grande"/>
              <a:buChar char="‣"/>
              <a:defRPr sz="1600" b="1" kern="1200" baseline="0">
                <a:solidFill>
                  <a:srgbClr val="F18B2E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6048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3pPr>
            <a:lvl4pPr marL="90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−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indent="0" algn="ctr">
              <a:buFontTx/>
              <a:buNone/>
            </a:pPr>
            <a:r>
              <a:rPr lang="fr-FR" dirty="0"/>
              <a:t> </a:t>
            </a:r>
            <a:r>
              <a:rPr lang="fr-FR" sz="2400" dirty="0"/>
              <a:t>+</a:t>
            </a:r>
            <a:r>
              <a:rPr lang="fr-FR" sz="2400" dirty="0">
                <a:solidFill>
                  <a:srgbClr val="00B050"/>
                </a:solidFill>
              </a:rPr>
              <a:t> complément de salaire pour tous les salariés du club</a:t>
            </a:r>
          </a:p>
          <a:p>
            <a:pPr indent="0" algn="ctr">
              <a:buFontTx/>
              <a:buNone/>
            </a:pPr>
            <a:r>
              <a:rPr lang="fr-FR" sz="2400" dirty="0">
                <a:solidFill>
                  <a:srgbClr val="00B050"/>
                </a:solidFill>
              </a:rPr>
              <a:t>Maintenu</a:t>
            </a:r>
            <a:endParaRPr lang="fr-FR" dirty="0">
              <a:solidFill>
                <a:srgbClr val="00B050"/>
              </a:solidFill>
            </a:endParaRPr>
          </a:p>
        </p:txBody>
      </p:sp>
      <p:pic>
        <p:nvPicPr>
          <p:cNvPr id="12" name="Picture 6" descr="Euro Symbol Rotating : vidéos de stock (100 % libres de droit) 1730128 |  Shutterstock">
            <a:extLst>
              <a:ext uri="{FF2B5EF4-FFF2-40B4-BE49-F238E27FC236}">
                <a16:creationId xmlns:a16="http://schemas.microsoft.com/office/drawing/2014/main" id="{5501B896-79CA-4EBB-9E00-06804E507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24" y="2386646"/>
            <a:ext cx="2847975" cy="160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Espace réservé du texte 1">
            <a:extLst>
              <a:ext uri="{FF2B5EF4-FFF2-40B4-BE49-F238E27FC236}">
                <a16:creationId xmlns:a16="http://schemas.microsoft.com/office/drawing/2014/main" id="{D28C6284-39AA-4E8E-A506-738B2ABC28D1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4271533" y="2044818"/>
            <a:ext cx="4548939" cy="2454553"/>
          </a:xfrm>
          <a:prstGeom prst="rect">
            <a:avLst/>
          </a:prstGeom>
        </p:spPr>
        <p:txBody>
          <a:bodyPr/>
          <a:lstStyle>
            <a:lvl1pPr marL="0" indent="-414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4"/>
              </a:buBlip>
              <a:defRPr sz="1600" b="1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432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63436"/>
              </a:buClr>
              <a:buSzPct val="100000"/>
              <a:buFont typeface="Lucida Grande"/>
              <a:buChar char="‣"/>
              <a:defRPr sz="1600" b="1" kern="1200" baseline="0">
                <a:solidFill>
                  <a:srgbClr val="F18B2E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6048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3pPr>
            <a:lvl4pPr marL="90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−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fr-FR" dirty="0"/>
              <a:t> Indemnisation possibles sur demande</a:t>
            </a:r>
          </a:p>
          <a:p>
            <a:pPr lvl="1"/>
            <a:r>
              <a:rPr lang="fr-FR" dirty="0"/>
              <a:t>Ne pas avoir demander d’attestation pour remboursement </a:t>
            </a:r>
          </a:p>
          <a:p>
            <a:pPr lvl="1"/>
            <a:r>
              <a:rPr lang="fr-FR" dirty="0"/>
              <a:t>Si demande attestation demandée : préciser le montant perçu</a:t>
            </a:r>
          </a:p>
          <a:p>
            <a:pPr lvl="1"/>
            <a:r>
              <a:rPr lang="fr-FR" dirty="0"/>
              <a:t>Remboursement de la part de la cotisation qui reste au club au prorata du nombre de semaines fermées </a:t>
            </a:r>
          </a:p>
        </p:txBody>
      </p:sp>
      <p:sp>
        <p:nvSpPr>
          <p:cNvPr id="16" name="Espace réservé du texte 1">
            <a:extLst>
              <a:ext uri="{FF2B5EF4-FFF2-40B4-BE49-F238E27FC236}">
                <a16:creationId xmlns:a16="http://schemas.microsoft.com/office/drawing/2014/main" id="{F35290ED-DA43-4D1F-BE06-7C85475E04A0}"/>
              </a:ext>
            </a:extLst>
          </p:cNvPr>
          <p:cNvSpPr txBox="1">
            <a:spLocks/>
          </p:cNvSpPr>
          <p:nvPr/>
        </p:nvSpPr>
        <p:spPr>
          <a:xfrm>
            <a:off x="4408011" y="5106843"/>
            <a:ext cx="4548939" cy="9118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-414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4"/>
              </a:buBlip>
              <a:defRPr sz="1600" b="1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432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63436"/>
              </a:buClr>
              <a:buSzPct val="100000"/>
              <a:buFont typeface="Lucida Grande"/>
              <a:buChar char="‣"/>
              <a:defRPr sz="1600" b="1" kern="1200" baseline="0">
                <a:solidFill>
                  <a:srgbClr val="F18B2E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6048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3pPr>
            <a:lvl4pPr marL="90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−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fr-FR" dirty="0"/>
              <a:t> Mise en place reçus fiscaux en cours d’étude</a:t>
            </a:r>
          </a:p>
        </p:txBody>
      </p:sp>
    </p:spTree>
    <p:extLst>
      <p:ext uri="{BB962C8B-B14F-4D97-AF65-F5344CB8AC3E}">
        <p14:creationId xmlns:p14="http://schemas.microsoft.com/office/powerpoint/2010/main" val="3390489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3399844-BBE9-4484-92B5-B8A1453EF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55219F-CFA5-4B87-A061-0E9DBD0D5C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4DC86E4-2C0B-4D71-AD75-B9F5C016C8E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108BBB1-AF73-420E-BC21-38AC8197D9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8" name="Image 7" descr="Une image contenant jeu, eau, table, assis&#10;&#10;Description générée automatiquement">
            <a:extLst>
              <a:ext uri="{FF2B5EF4-FFF2-40B4-BE49-F238E27FC236}">
                <a16:creationId xmlns:a16="http://schemas.microsoft.com/office/drawing/2014/main" id="{91E76CE4-D770-45D2-B34B-93068D9C0E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8" y="4097046"/>
            <a:ext cx="4601491" cy="2070671"/>
          </a:xfrm>
          <a:prstGeom prst="rect">
            <a:avLst/>
          </a:prstGeom>
        </p:spPr>
      </p:pic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52264165-3B2E-4BFC-A2BB-94460DBCC5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348" y="342175"/>
            <a:ext cx="5897217" cy="3086825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E014748-4EAD-4D3E-8BEA-A860EC6D9C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435" y="4097046"/>
            <a:ext cx="3089827" cy="2063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52416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8/11/2020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245007" y="2941236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86073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LES DEPENSES : Budget : </a:t>
            </a:r>
            <a:r>
              <a:rPr lang="fr-FR" sz="1600" dirty="0">
                <a:solidFill>
                  <a:srgbClr val="FF0000"/>
                </a:solidFill>
              </a:rPr>
              <a:t>82 390 €  </a:t>
            </a:r>
            <a:r>
              <a:rPr lang="fr-FR" sz="1600" dirty="0">
                <a:solidFill>
                  <a:schemeClr val="tx1"/>
                </a:solidFill>
              </a:rPr>
              <a:t>REALISEES : </a:t>
            </a:r>
            <a:r>
              <a:rPr lang="fr-FR" sz="1600" dirty="0">
                <a:solidFill>
                  <a:srgbClr val="FF0000"/>
                </a:solidFill>
              </a:rPr>
              <a:t>71 233,20€</a:t>
            </a: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A77ECF3-E320-43BB-9B7D-BFDBEDD4DA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8055406"/>
              </p:ext>
            </p:extLst>
          </p:nvPr>
        </p:nvGraphicFramePr>
        <p:xfrm>
          <a:off x="185738" y="786141"/>
          <a:ext cx="3852795" cy="5190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2590">
                  <a:extLst>
                    <a:ext uri="{9D8B030D-6E8A-4147-A177-3AD203B41FA5}">
                      <a16:colId xmlns:a16="http://schemas.microsoft.com/office/drawing/2014/main" val="1501778905"/>
                    </a:ext>
                  </a:extLst>
                </a:gridCol>
                <a:gridCol w="780191">
                  <a:extLst>
                    <a:ext uri="{9D8B030D-6E8A-4147-A177-3AD203B41FA5}">
                      <a16:colId xmlns:a16="http://schemas.microsoft.com/office/drawing/2014/main" val="925648730"/>
                    </a:ext>
                  </a:extLst>
                </a:gridCol>
                <a:gridCol w="895775">
                  <a:extLst>
                    <a:ext uri="{9D8B030D-6E8A-4147-A177-3AD203B41FA5}">
                      <a16:colId xmlns:a16="http://schemas.microsoft.com/office/drawing/2014/main" val="3346754124"/>
                    </a:ext>
                  </a:extLst>
                </a:gridCol>
                <a:gridCol w="674239">
                  <a:extLst>
                    <a:ext uri="{9D8B030D-6E8A-4147-A177-3AD203B41FA5}">
                      <a16:colId xmlns:a16="http://schemas.microsoft.com/office/drawing/2014/main" val="302917276"/>
                    </a:ext>
                  </a:extLst>
                </a:gridCol>
              </a:tblGrid>
              <a:tr h="16615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 dirty="0">
                          <a:effectLst/>
                        </a:rPr>
                        <a:t>NATURE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BUDGET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SITUATION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%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43" marR="83643" marT="41822" marB="41822" anchor="ctr"/>
                </a:tc>
                <a:extLst>
                  <a:ext uri="{0D108BD9-81ED-4DB2-BD59-A6C34878D82A}">
                    <a16:rowId xmlns:a16="http://schemas.microsoft.com/office/drawing/2014/main" val="106138678"/>
                  </a:ext>
                </a:extLst>
              </a:tr>
              <a:tr h="15892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2019/2020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2019/2020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3732590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55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43" marR="83643" marT="41822" marB="41822" anchor="ctr"/>
                </a:tc>
                <a:extLst>
                  <a:ext uri="{0D108BD9-81ED-4DB2-BD59-A6C34878D82A}">
                    <a16:rowId xmlns:a16="http://schemas.microsoft.com/office/drawing/2014/main" val="3566246372"/>
                  </a:ext>
                </a:extLst>
              </a:tr>
              <a:tr h="14448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 dirty="0">
                          <a:effectLst/>
                        </a:rPr>
                        <a:t>FRAIS ENCADREMENT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0298698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Salaires net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8826143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ymnastique masculin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5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5 289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75947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Badminto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3 0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3 632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0038009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Charges sociale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003819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URSSAF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6 7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5 888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028638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ABELIO (Retraite)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3 3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2 381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015523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IONIS (Prévoyance)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9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46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6454628"/>
                  </a:ext>
                </a:extLst>
              </a:tr>
              <a:tr h="245615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UNIFORMATION</a:t>
                      </a:r>
                      <a:br>
                        <a:rPr lang="fr-FR" sz="900" u="none" strike="noStrike">
                          <a:effectLst/>
                        </a:rPr>
                      </a:br>
                      <a:r>
                        <a:rPr lang="fr-FR" sz="900" u="none" strike="noStrike">
                          <a:effectLst/>
                        </a:rPr>
                        <a:t>(taxe formation professionnelle)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500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622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4549842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 dirty="0">
                          <a:effectLst/>
                        </a:rPr>
                        <a:t>S/total   salaires  et charges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 dirty="0">
                          <a:effectLst/>
                        </a:rPr>
                        <a:t> 39 190,00    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 dirty="0">
                          <a:effectLst/>
                        </a:rPr>
                        <a:t> 37 958,00    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3566882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Indemnités diverse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2740666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Indemnités diverse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2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 131,2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274365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Stages /  formation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8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00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919069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. FRAIS ENCADREMENT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42 19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39 189,2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4689137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Petit matériel et équipement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14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43" marR="83643" marT="41822" marB="41822" anchor="ctr"/>
                </a:tc>
                <a:extLst>
                  <a:ext uri="{0D108BD9-81ED-4DB2-BD59-A6C34878D82A}">
                    <a16:rowId xmlns:a16="http://schemas.microsoft.com/office/drawing/2014/main" val="564763748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Badminton (volants)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7 0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6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6802446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Badminton ( divers)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505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7547938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ymnastique masculine (coffre)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102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29845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Achats tenues sportive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753402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Badminto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2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708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037275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ymnastique masculin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54443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Récompenses compétition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83119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Récompenses tournoi  badminton</a:t>
                      </a:r>
                      <a:endParaRPr lang="fr-FR" sz="9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4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 304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3515650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MATERIEL ET AUTRE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13 90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10 119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5222761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Affiliations et licence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18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43" marR="83643" marT="41822" marB="41822" anchor="ctr"/>
                </a:tc>
                <a:extLst>
                  <a:ext uri="{0D108BD9-81ED-4DB2-BD59-A6C34878D82A}">
                    <a16:rowId xmlns:a16="http://schemas.microsoft.com/office/drawing/2014/main" val="768881950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FGym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3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2 241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4218167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FFBAD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1 0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0 858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1987161"/>
                  </a:ext>
                </a:extLst>
              </a:tr>
              <a:tr h="137256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AFFILIATION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14 50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13 099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325333"/>
                  </a:ext>
                </a:extLst>
              </a:tr>
              <a:tr h="158928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UX A REPORTER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70 59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62 407,2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u="none" strike="noStrike" dirty="0">
                          <a:effectLst/>
                        </a:rPr>
                        <a:t>88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4" marR="7224" marT="7224" marB="0" anchor="b"/>
                </a:tc>
                <a:extLst>
                  <a:ext uri="{0D108BD9-81ED-4DB2-BD59-A6C34878D82A}">
                    <a16:rowId xmlns:a16="http://schemas.microsoft.com/office/drawing/2014/main" val="2796647057"/>
                  </a:ext>
                </a:extLst>
              </a:tr>
            </a:tbl>
          </a:graphicData>
        </a:graphic>
      </p:graphicFrame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63669566-1381-4DF6-A360-10B8B952C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1451176"/>
              </p:ext>
            </p:extLst>
          </p:nvPr>
        </p:nvGraphicFramePr>
        <p:xfrm>
          <a:off x="4854096" y="810606"/>
          <a:ext cx="4104166" cy="59746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3851">
                  <a:extLst>
                    <a:ext uri="{9D8B030D-6E8A-4147-A177-3AD203B41FA5}">
                      <a16:colId xmlns:a16="http://schemas.microsoft.com/office/drawing/2014/main" val="1900911695"/>
                    </a:ext>
                  </a:extLst>
                </a:gridCol>
                <a:gridCol w="970579">
                  <a:extLst>
                    <a:ext uri="{9D8B030D-6E8A-4147-A177-3AD203B41FA5}">
                      <a16:colId xmlns:a16="http://schemas.microsoft.com/office/drawing/2014/main" val="513087753"/>
                    </a:ext>
                  </a:extLst>
                </a:gridCol>
                <a:gridCol w="813439">
                  <a:extLst>
                    <a:ext uri="{9D8B030D-6E8A-4147-A177-3AD203B41FA5}">
                      <a16:colId xmlns:a16="http://schemas.microsoft.com/office/drawing/2014/main" val="2876137925"/>
                    </a:ext>
                  </a:extLst>
                </a:gridCol>
                <a:gridCol w="656297">
                  <a:extLst>
                    <a:ext uri="{9D8B030D-6E8A-4147-A177-3AD203B41FA5}">
                      <a16:colId xmlns:a16="http://schemas.microsoft.com/office/drawing/2014/main" val="1442926725"/>
                    </a:ext>
                  </a:extLst>
                </a:gridCol>
              </a:tblGrid>
              <a:tr h="1213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 dirty="0">
                          <a:effectLst/>
                        </a:rPr>
                        <a:t>NATURE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BUDGET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SITUATION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%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ctr"/>
                </a:tc>
                <a:extLst>
                  <a:ext uri="{0D108BD9-81ED-4DB2-BD59-A6C34878D82A}">
                    <a16:rowId xmlns:a16="http://schemas.microsoft.com/office/drawing/2014/main" val="2776223788"/>
                  </a:ext>
                </a:extLst>
              </a:tr>
              <a:tr h="11552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 dirty="0">
                          <a:effectLst/>
                        </a:rPr>
                        <a:t>2019/2020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2019/2020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854609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4199126153"/>
                  </a:ext>
                </a:extLst>
              </a:tr>
              <a:tr h="121303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Reports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 dirty="0">
                          <a:effectLst/>
                        </a:rPr>
                        <a:t> 70 59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 dirty="0">
                          <a:effectLst/>
                        </a:rPr>
                        <a:t> 62 407,2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88%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131643128"/>
                  </a:ext>
                </a:extLst>
              </a:tr>
              <a:tr h="121303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731527740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sng" strike="noStrike" dirty="0">
                          <a:effectLst/>
                        </a:rPr>
                        <a:t>Engagements compétitions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26876449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3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ctr"/>
                </a:tc>
                <a:extLst>
                  <a:ext uri="{0D108BD9-81ED-4DB2-BD59-A6C34878D82A}">
                    <a16:rowId xmlns:a16="http://schemas.microsoft.com/office/drawing/2014/main" val="3445289954"/>
                  </a:ext>
                </a:extLst>
              </a:tr>
              <a:tr h="242605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Gym/Badminton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5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829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920877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articip fédérale tournoi Mousquetaires</a:t>
                      </a:r>
                      <a:endParaRPr lang="fr-FR" sz="9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7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596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410715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Indemnités juges/ arbitres/Ostéo</a:t>
                      </a:r>
                      <a:endParaRPr lang="fr-FR" sz="9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0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894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7005884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Remboursements SH tournois bad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0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3249857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1543220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FRAIS ENGAGEMENT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4 20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2 319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206103"/>
                  </a:ext>
                </a:extLst>
              </a:tr>
              <a:tr h="101492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3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ctr"/>
                </a:tc>
                <a:extLst>
                  <a:ext uri="{0D108BD9-81ED-4DB2-BD59-A6C34878D82A}">
                    <a16:rowId xmlns:a16="http://schemas.microsoft.com/office/drawing/2014/main" val="3560396765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harmacie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5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48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2385664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Assurance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3073912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Responsabilité civil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9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837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110445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rotection juridiqu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6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58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4050198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8271341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sng" strike="noStrike" dirty="0">
                          <a:effectLst/>
                        </a:rPr>
                        <a:t>Frais de secrétariat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 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 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2777142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rais externalisation paie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 0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810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5798947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rais postaux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5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52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7658036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Abonnement Sports région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3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29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6976422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Accés Badnet</a:t>
                      </a:r>
                      <a:endParaRPr lang="fr-FR" sz="9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40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5139136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ournitures de bureau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1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22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6945992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4566354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FRAIS ADMINISTRATIF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2 49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2 196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1619878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6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ctr"/>
                </a:tc>
                <a:extLst>
                  <a:ext uri="{0D108BD9-81ED-4DB2-BD59-A6C34878D82A}">
                    <a16:rowId xmlns:a16="http://schemas.microsoft.com/office/drawing/2014/main" val="3400273732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>
                          <a:effectLst/>
                        </a:rPr>
                        <a:t>Frais  buvettes, divers</a:t>
                      </a:r>
                      <a:endParaRPr lang="fr-FR" sz="9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3851367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Boissons, buvettes ….</a:t>
                      </a:r>
                      <a:endParaRPr lang="fr-FR" sz="9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3 3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2 751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157236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Remboursement adhésion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7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431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3347377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Don Téléthon et autre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2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287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2414285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Sortie IBF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4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347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2248070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Dépenses diverses (réfrigérateur)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20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180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125106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rais  bancaire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22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225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821301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rais encaissement Chèques  ANCV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 90,00   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 90,00    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0874122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670184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 DEPENSES Diverse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5 11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4 311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299288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656369159"/>
                  </a:ext>
                </a:extLst>
              </a:tr>
              <a:tr h="10975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u="none" strike="noStrike" dirty="0">
                          <a:effectLst/>
                        </a:rPr>
                        <a:t>TOTAUX DEPENSES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 82 390,00   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 71 233,20   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u="none" strike="noStrike" dirty="0">
                          <a:effectLst/>
                        </a:rPr>
                        <a:t>100%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8" marR="5518" marT="5518" marB="0" anchor="b">
                    <a:solidFill>
                      <a:srgbClr val="FC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7718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89712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 fontScale="90000"/>
          </a:bodyPr>
          <a:lstStyle/>
          <a:p>
            <a:r>
              <a:rPr lang="fr-FR" sz="1600" dirty="0"/>
              <a:t>LES RECETTES : Budget : </a:t>
            </a:r>
            <a:r>
              <a:rPr lang="fr-FR" sz="1600" dirty="0">
                <a:solidFill>
                  <a:srgbClr val="FF0000"/>
                </a:solidFill>
              </a:rPr>
              <a:t>82 390 €  </a:t>
            </a:r>
            <a:r>
              <a:rPr lang="fr-FR" sz="1600" dirty="0">
                <a:solidFill>
                  <a:schemeClr val="tx1"/>
                </a:solidFill>
              </a:rPr>
              <a:t>REALISEES : </a:t>
            </a:r>
            <a:r>
              <a:rPr lang="fr-FR" sz="1600" dirty="0">
                <a:solidFill>
                  <a:srgbClr val="FF0000"/>
                </a:solidFill>
              </a:rPr>
              <a:t>84319 €</a:t>
            </a:r>
            <a:br>
              <a:rPr lang="fr-FR" sz="1600" dirty="0">
                <a:solidFill>
                  <a:srgbClr val="FF0000"/>
                </a:solidFill>
              </a:rPr>
            </a:b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975916EC-4301-49A8-AE0B-49DD2F6D22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7877511"/>
              </p:ext>
            </p:extLst>
          </p:nvPr>
        </p:nvGraphicFramePr>
        <p:xfrm>
          <a:off x="2167934" y="554203"/>
          <a:ext cx="4285254" cy="61371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7679">
                  <a:extLst>
                    <a:ext uri="{9D8B030D-6E8A-4147-A177-3AD203B41FA5}">
                      <a16:colId xmlns:a16="http://schemas.microsoft.com/office/drawing/2014/main" val="624225324"/>
                    </a:ext>
                  </a:extLst>
                </a:gridCol>
                <a:gridCol w="887171">
                  <a:extLst>
                    <a:ext uri="{9D8B030D-6E8A-4147-A177-3AD203B41FA5}">
                      <a16:colId xmlns:a16="http://schemas.microsoft.com/office/drawing/2014/main" val="294497202"/>
                    </a:ext>
                  </a:extLst>
                </a:gridCol>
                <a:gridCol w="985746">
                  <a:extLst>
                    <a:ext uri="{9D8B030D-6E8A-4147-A177-3AD203B41FA5}">
                      <a16:colId xmlns:a16="http://schemas.microsoft.com/office/drawing/2014/main" val="2438296163"/>
                    </a:ext>
                  </a:extLst>
                </a:gridCol>
                <a:gridCol w="484658">
                  <a:extLst>
                    <a:ext uri="{9D8B030D-6E8A-4147-A177-3AD203B41FA5}">
                      <a16:colId xmlns:a16="http://schemas.microsoft.com/office/drawing/2014/main" val="1290514884"/>
                    </a:ext>
                  </a:extLst>
                </a:gridCol>
              </a:tblGrid>
              <a:tr h="12982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 dirty="0">
                          <a:effectLst/>
                        </a:rPr>
                        <a:t>NATURE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BUDGET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SITUATION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100" u="none" strike="noStrike">
                          <a:effectLst/>
                        </a:rPr>
                        <a:t>%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extLst>
                  <a:ext uri="{0D108BD9-81ED-4DB2-BD59-A6C34878D82A}">
                    <a16:rowId xmlns:a16="http://schemas.microsoft.com/office/drawing/2014/main" val="552946749"/>
                  </a:ext>
                </a:extLst>
              </a:tr>
              <a:tr h="12392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2019/2020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2019/2020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4453436"/>
                  </a:ext>
                </a:extLst>
              </a:tr>
              <a:tr h="123921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sng" strike="noStrike" dirty="0">
                          <a:effectLst/>
                        </a:rPr>
                        <a:t>Cotisations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56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extLst>
                  <a:ext uri="{0D108BD9-81ED-4DB2-BD59-A6C34878D82A}">
                    <a16:rowId xmlns:a16="http://schemas.microsoft.com/office/drawing/2014/main" val="1341935518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603040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Gymnastique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14 000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1 413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7095594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Badminton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35 000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36 15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356604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668055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COTISATION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49 00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47 563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vert="vert270" anchor="ctr"/>
                </a:tc>
                <a:extLst>
                  <a:ext uri="{0D108BD9-81ED-4DB2-BD59-A6C34878D82A}">
                    <a16:rowId xmlns:a16="http://schemas.microsoft.com/office/drawing/2014/main" val="2938062159"/>
                  </a:ext>
                </a:extLst>
              </a:tr>
              <a:tr h="123921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u="sng" strike="noStrike" dirty="0">
                          <a:effectLst/>
                        </a:rPr>
                        <a:t>Subventions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20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extLst>
                  <a:ext uri="{0D108BD9-81ED-4DB2-BD59-A6C34878D82A}">
                    <a16:rowId xmlns:a16="http://schemas.microsoft.com/office/drawing/2014/main" val="3706147550"/>
                  </a:ext>
                </a:extLst>
              </a:tr>
              <a:tr h="118021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u="sng" strike="noStrike" dirty="0">
                          <a:effectLst/>
                        </a:rPr>
                        <a:t> 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4600373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sng" strike="noStrike" dirty="0">
                          <a:effectLst/>
                        </a:rPr>
                        <a:t>Subvention municipale</a:t>
                      </a:r>
                      <a:endParaRPr lang="fr-FR" sz="8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0932044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Subvention de fonctionnement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14 000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4 0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7246562"/>
                  </a:ext>
                </a:extLst>
              </a:tr>
              <a:tr h="10031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8452798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TOTAL SUBV. MUNICIPALES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14 000,00    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4 000,00    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4467854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1194671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sng" strike="noStrike" dirty="0">
                          <a:effectLst/>
                        </a:rPr>
                        <a:t>Subventions départementales</a:t>
                      </a:r>
                      <a:endParaRPr lang="fr-FR" sz="8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9887624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sng" strike="noStrike" dirty="0">
                          <a:effectLst/>
                        </a:rPr>
                        <a:t>Conseil Général</a:t>
                      </a:r>
                      <a:endParaRPr lang="fr-FR" sz="8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659185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Sports (matériel)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 33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1 372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311271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Sports (fonctionnement)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 2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 2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856025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4331005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TOTAL SUBV. DEPARTEMENT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2 530,00    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2 572,00    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3563794"/>
                  </a:ext>
                </a:extLst>
              </a:tr>
              <a:tr h="116688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sng" strike="noStrike" dirty="0">
                          <a:effectLst/>
                        </a:rPr>
                        <a:t> 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9178819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vert="vert270" anchor="ctr"/>
                </a:tc>
                <a:extLst>
                  <a:ext uri="{0D108BD9-81ED-4DB2-BD59-A6C34878D82A}">
                    <a16:rowId xmlns:a16="http://schemas.microsoft.com/office/drawing/2014/main" val="2889299470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u="none" strike="noStrike" dirty="0">
                          <a:effectLst/>
                        </a:rPr>
                        <a:t>TOTAL  SUBVENTIONS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16 530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u="none" strike="noStrike" dirty="0">
                          <a:effectLst/>
                        </a:rPr>
                        <a:t> 16 572,00    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vert="vert270" anchor="ctr"/>
                </a:tc>
                <a:extLst>
                  <a:ext uri="{0D108BD9-81ED-4DB2-BD59-A6C34878D82A}">
                    <a16:rowId xmlns:a16="http://schemas.microsoft.com/office/drawing/2014/main" val="1456896159"/>
                  </a:ext>
                </a:extLst>
              </a:tr>
              <a:tr h="123921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u="sng" strike="noStrike" dirty="0">
                          <a:effectLst/>
                        </a:rPr>
                        <a:t>Recettes diverses</a:t>
                      </a:r>
                      <a:endParaRPr lang="fr-FR" sz="9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fr-FR" sz="1600" b="1" u="none" strike="noStrike" dirty="0">
                          <a:effectLst/>
                        </a:rPr>
                        <a:t>24%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extLst>
                  <a:ext uri="{0D108BD9-81ED-4DB2-BD59-A6C34878D82A}">
                    <a16:rowId xmlns:a16="http://schemas.microsoft.com/office/drawing/2014/main" val="3892680525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089476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Recettes buvettes</a:t>
                      </a:r>
                      <a:endParaRPr lang="fr-FR" sz="8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3 4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2 981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468373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Indemnité LIFB  Vét   régional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-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1 050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3946987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Ventes volants badminton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 3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752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7895609"/>
                  </a:ext>
                </a:extLst>
              </a:tr>
              <a:tr h="118021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Participation stagiaires badminton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8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 048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5868484"/>
                  </a:ext>
                </a:extLst>
              </a:tr>
              <a:tr h="118021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Participation stagiaires GAM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588258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Droits d'inscription tournoi badminton</a:t>
                      </a:r>
                      <a:endParaRPr lang="fr-FR" sz="800" b="0" i="0" u="none" strike="noStrike">
                        <a:solidFill>
                          <a:srgbClr val="FF420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5 5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4 816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1239517"/>
                  </a:ext>
                </a:extLst>
              </a:tr>
              <a:tr h="10031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Ventes tenues sportives badminton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1 5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210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8961978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Ventes tenues sportives GAM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30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-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8944060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Sortie  jeunes IFB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-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84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1866750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u="none" strike="noStrike">
                          <a:effectLst/>
                        </a:rPr>
                        <a:t> -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9192415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sng" strike="noStrike">
                          <a:effectLst/>
                        </a:rPr>
                        <a:t>Recette sponsoring (La Résidence)</a:t>
                      </a:r>
                      <a:endParaRPr lang="fr-FR" sz="800" b="1" i="0" u="sng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4 000,00    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-    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982954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8065829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Intérêts livret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60,00    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 dirty="0">
                          <a:effectLst/>
                        </a:rPr>
                        <a:t> 48,00    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96322"/>
                  </a:ext>
                </a:extLst>
              </a:tr>
              <a:tr h="118021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Indemnisation chômage partiel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u="none" strike="noStrike">
                          <a:effectLst/>
                        </a:rPr>
                        <a:t> 9 195,00    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1232275"/>
                  </a:ext>
                </a:extLst>
              </a:tr>
              <a:tr h="118021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vert="vert270" anchor="ctr"/>
                </a:tc>
                <a:extLst>
                  <a:ext uri="{0D108BD9-81ED-4DB2-BD59-A6C34878D82A}">
                    <a16:rowId xmlns:a16="http://schemas.microsoft.com/office/drawing/2014/main" val="3460006258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u="none" strike="noStrike" dirty="0">
                          <a:effectLst/>
                        </a:rPr>
                        <a:t>TOTAL RECETTES DIVERSES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u="none" strike="noStrike" dirty="0">
                          <a:effectLst/>
                        </a:rPr>
                        <a:t> 16 860,00    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u="none" strike="noStrike" dirty="0">
                          <a:effectLst/>
                        </a:rPr>
                        <a:t> 20 184,00    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u="none" strike="noStrike" dirty="0">
                          <a:effectLst/>
                        </a:rPr>
                        <a:t>100%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FC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7689789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>
                          <a:effectLst/>
                        </a:rPr>
                        <a:t> </a:t>
                      </a:r>
                      <a:endParaRPr lang="fr-FR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u="none" strike="noStrike" dirty="0">
                          <a:effectLst/>
                        </a:rPr>
                        <a:t> 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extLst>
                  <a:ext uri="{0D108BD9-81ED-4DB2-BD59-A6C34878D82A}">
                    <a16:rowId xmlns:a16="http://schemas.microsoft.com/office/drawing/2014/main" val="4030505336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1050" u="none" strike="noStrike" dirty="0">
                          <a:effectLst/>
                        </a:rPr>
                        <a:t>TOTAL GENERAL RECETTES</a:t>
                      </a:r>
                      <a:endParaRPr lang="fr-F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50" u="none" strike="noStrike">
                          <a:effectLst/>
                        </a:rPr>
                        <a:t> 82 390,00    </a:t>
                      </a:r>
                      <a:endParaRPr lang="fr-FR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50" u="none" strike="noStrike" dirty="0">
                          <a:effectLst/>
                        </a:rPr>
                        <a:t> 84 319,00    </a:t>
                      </a:r>
                      <a:endParaRPr lang="fr-F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50" u="none" strike="noStrike" dirty="0">
                          <a:effectLst/>
                        </a:rPr>
                        <a:t> </a:t>
                      </a:r>
                      <a:endParaRPr lang="fr-F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extLst>
                  <a:ext uri="{0D108BD9-81ED-4DB2-BD59-A6C34878D82A}">
                    <a16:rowId xmlns:a16="http://schemas.microsoft.com/office/drawing/2014/main" val="200702318"/>
                  </a:ext>
                </a:extLst>
              </a:tr>
              <a:tr h="112120">
                <a:tc>
                  <a:txBody>
                    <a:bodyPr/>
                    <a:lstStyle/>
                    <a:p>
                      <a:pPr algn="l" fontAlgn="b"/>
                      <a:r>
                        <a:rPr lang="fr-FR" sz="1050" u="none" strike="noStrike" dirty="0">
                          <a:effectLst/>
                        </a:rPr>
                        <a:t>TOTAL GENERAL  DEPENSES</a:t>
                      </a:r>
                      <a:endParaRPr lang="fr-F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50" u="none" strike="noStrike" dirty="0">
                          <a:effectLst/>
                        </a:rPr>
                        <a:t> 82 390,00    </a:t>
                      </a:r>
                      <a:endParaRPr lang="fr-F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50" u="none" strike="noStrike">
                          <a:effectLst/>
                        </a:rPr>
                        <a:t> 71 233,20    </a:t>
                      </a:r>
                      <a:endParaRPr lang="fr-FR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50" u="none" strike="noStrike" dirty="0">
                          <a:effectLst/>
                        </a:rPr>
                        <a:t> </a:t>
                      </a:r>
                      <a:endParaRPr lang="fr-F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extLst>
                  <a:ext uri="{0D108BD9-81ED-4DB2-BD59-A6C34878D82A}">
                    <a16:rowId xmlns:a16="http://schemas.microsoft.com/office/drawing/2014/main" val="1406607561"/>
                  </a:ext>
                </a:extLst>
              </a:tr>
              <a:tr h="15814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>
                          <a:effectLst/>
                        </a:rPr>
                        <a:t>RESULTAT</a:t>
                      </a:r>
                      <a:endParaRPr lang="fr-FR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50" u="none" strike="noStrike" dirty="0">
                          <a:effectLst/>
                        </a:rPr>
                        <a:t> </a:t>
                      </a:r>
                      <a:endParaRPr lang="fr-FR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u="none" strike="noStrike" dirty="0">
                          <a:effectLst/>
                        </a:rPr>
                        <a:t> 13 085,80   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u="none" strike="noStrike" dirty="0">
                          <a:effectLst/>
                        </a:rPr>
                        <a:t> 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887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32335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42928" y="1277166"/>
            <a:ext cx="8424936" cy="4964608"/>
          </a:xfrm>
        </p:spPr>
        <p:txBody>
          <a:bodyPr/>
          <a:lstStyle/>
          <a:p>
            <a:pPr indent="0">
              <a:buNone/>
            </a:pPr>
            <a:endParaRPr lang="fr-FR" sz="2800" dirty="0"/>
          </a:p>
          <a:p>
            <a:pPr indent="0">
              <a:buNone/>
            </a:pPr>
            <a:endParaRPr lang="fr-FR" sz="2800" dirty="0"/>
          </a:p>
          <a:p>
            <a:r>
              <a:rPr lang="fr-FR" sz="2800" dirty="0"/>
              <a:t>QUESTIONS SUR LE RAPPORT </a:t>
            </a:r>
          </a:p>
          <a:p>
            <a:pPr>
              <a:buNone/>
            </a:pPr>
            <a:r>
              <a:rPr lang="fr-FR" sz="2800" dirty="0"/>
              <a:t>             FINANCIER 2019 - 2020?</a:t>
            </a:r>
          </a:p>
          <a:p>
            <a:pPr indent="0">
              <a:buNone/>
            </a:pPr>
            <a:endParaRPr lang="fr-FR" sz="2800" dirty="0"/>
          </a:p>
          <a:p>
            <a:endParaRPr lang="fr-FR" sz="2800" dirty="0"/>
          </a:p>
          <a:p>
            <a:r>
              <a:rPr lang="fr-FR" sz="2400" dirty="0"/>
              <a:t>APPROBATION DES COMPTES 2019 – 2020?</a:t>
            </a:r>
            <a:endParaRPr lang="fr-FR" sz="1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ort financier 2019 - 202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88FA44-73D0-4364-8C0B-E7B1C06F0A28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8/11/2020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002BD31F-8D9D-4AD6-A53E-741079BC560E}"/>
              </a:ext>
            </a:extLst>
          </p:cNvPr>
          <p:cNvSpPr/>
          <p:nvPr/>
        </p:nvSpPr>
        <p:spPr>
          <a:xfrm>
            <a:off x="1245007" y="3692647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649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D5DBBC5-13E9-4DA3-BA1D-1749A3D64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8" y="32101"/>
            <a:ext cx="7800972" cy="785794"/>
          </a:xfrm>
        </p:spPr>
        <p:txBody>
          <a:bodyPr/>
          <a:lstStyle/>
          <a:p>
            <a:pPr algn="ctr"/>
            <a:r>
              <a:rPr lang="fr-FR" dirty="0"/>
              <a:t>Les missions du Conseil d’Administration </a:t>
            </a:r>
            <a:br>
              <a:rPr lang="fr-FR" dirty="0"/>
            </a:br>
            <a:r>
              <a:rPr lang="fr-FR" dirty="0">
                <a:solidFill>
                  <a:srgbClr val="FF0000"/>
                </a:solidFill>
              </a:rPr>
              <a:t>12 membres max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C40BBCB-48C3-4B15-B7CB-D63643990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2B219BC-22D0-4618-9ED2-5C25B06D23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9E2E386-0544-4C84-BF05-8FBB33D5EA8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Diagramme 6">
            <a:extLst>
              <a:ext uri="{FF2B5EF4-FFF2-40B4-BE49-F238E27FC236}">
                <a16:creationId xmlns:a16="http://schemas.microsoft.com/office/drawing/2014/main" id="{B61E2143-7BFC-4B96-820D-B3C400887F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700688"/>
              </p:ext>
            </p:extLst>
          </p:nvPr>
        </p:nvGraphicFramePr>
        <p:xfrm>
          <a:off x="1269840" y="1020726"/>
          <a:ext cx="6757739" cy="43140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Bulle narrative : rectangle 1">
            <a:extLst>
              <a:ext uri="{FF2B5EF4-FFF2-40B4-BE49-F238E27FC236}">
                <a16:creationId xmlns:a16="http://schemas.microsoft.com/office/drawing/2014/main" id="{10B4D5F5-927B-4202-85BE-7E809E3BF597}"/>
              </a:ext>
            </a:extLst>
          </p:cNvPr>
          <p:cNvSpPr/>
          <p:nvPr/>
        </p:nvSpPr>
        <p:spPr>
          <a:xfrm>
            <a:off x="342928" y="4689447"/>
            <a:ext cx="1485872" cy="1147828"/>
          </a:xfrm>
          <a:prstGeom prst="wedgeRectCallout">
            <a:avLst>
              <a:gd name="adj1" fmla="val 117667"/>
              <a:gd name="adj2" fmla="val -42309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/>
              <a:t>Président</a:t>
            </a:r>
          </a:p>
          <a:p>
            <a:pPr algn="ctr"/>
            <a:r>
              <a:rPr lang="fr-FR" sz="1100" dirty="0"/>
              <a:t>Vice Président</a:t>
            </a:r>
          </a:p>
          <a:p>
            <a:pPr algn="ctr"/>
            <a:r>
              <a:rPr lang="fr-FR" sz="1100" dirty="0"/>
              <a:t>Trésorier </a:t>
            </a:r>
          </a:p>
          <a:p>
            <a:pPr algn="ctr"/>
            <a:r>
              <a:rPr lang="fr-FR" sz="1100" dirty="0"/>
              <a:t>Trésorier Adjoint </a:t>
            </a:r>
          </a:p>
          <a:p>
            <a:pPr algn="ctr"/>
            <a:r>
              <a:rPr lang="fr-FR" sz="1100" dirty="0"/>
              <a:t>Secrétaire </a:t>
            </a:r>
          </a:p>
          <a:p>
            <a:pPr algn="ctr"/>
            <a:r>
              <a:rPr lang="fr-FR" sz="1100" dirty="0"/>
              <a:t>Secrétaire Adjoint</a:t>
            </a:r>
          </a:p>
        </p:txBody>
      </p:sp>
    </p:spTree>
    <p:extLst>
      <p:ext uri="{BB962C8B-B14F-4D97-AF65-F5344CB8AC3E}">
        <p14:creationId xmlns:p14="http://schemas.microsoft.com/office/powerpoint/2010/main" val="6866094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0"/>
            <a:ext cx="7800972" cy="785794"/>
          </a:xfrm>
        </p:spPr>
        <p:txBody>
          <a:bodyPr/>
          <a:lstStyle/>
          <a:p>
            <a:r>
              <a:rPr lang="fr-FR" dirty="0"/>
              <a:t>Situation des MANDATS et CANDIDATUR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72A53D3B-B136-4511-9843-CEF837A958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462370"/>
              </p:ext>
            </p:extLst>
          </p:nvPr>
        </p:nvGraphicFramePr>
        <p:xfrm>
          <a:off x="342928" y="478716"/>
          <a:ext cx="8458144" cy="59744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5722">
                  <a:extLst>
                    <a:ext uri="{9D8B030D-6E8A-4147-A177-3AD203B41FA5}">
                      <a16:colId xmlns:a16="http://schemas.microsoft.com/office/drawing/2014/main" val="2511919209"/>
                    </a:ext>
                  </a:extLst>
                </a:gridCol>
                <a:gridCol w="1185722">
                  <a:extLst>
                    <a:ext uri="{9D8B030D-6E8A-4147-A177-3AD203B41FA5}">
                      <a16:colId xmlns:a16="http://schemas.microsoft.com/office/drawing/2014/main" val="2785713545"/>
                    </a:ext>
                  </a:extLst>
                </a:gridCol>
                <a:gridCol w="1185722">
                  <a:extLst>
                    <a:ext uri="{9D8B030D-6E8A-4147-A177-3AD203B41FA5}">
                      <a16:colId xmlns:a16="http://schemas.microsoft.com/office/drawing/2014/main" val="669467436"/>
                    </a:ext>
                  </a:extLst>
                </a:gridCol>
                <a:gridCol w="1976201">
                  <a:extLst>
                    <a:ext uri="{9D8B030D-6E8A-4147-A177-3AD203B41FA5}">
                      <a16:colId xmlns:a16="http://schemas.microsoft.com/office/drawing/2014/main" val="3334275659"/>
                    </a:ext>
                  </a:extLst>
                </a:gridCol>
                <a:gridCol w="1284531">
                  <a:extLst>
                    <a:ext uri="{9D8B030D-6E8A-4147-A177-3AD203B41FA5}">
                      <a16:colId xmlns:a16="http://schemas.microsoft.com/office/drawing/2014/main" val="818880393"/>
                    </a:ext>
                  </a:extLst>
                </a:gridCol>
                <a:gridCol w="1640246">
                  <a:extLst>
                    <a:ext uri="{9D8B030D-6E8A-4147-A177-3AD203B41FA5}">
                      <a16:colId xmlns:a16="http://schemas.microsoft.com/office/drawing/2014/main" val="1568950499"/>
                    </a:ext>
                  </a:extLst>
                </a:gridCol>
              </a:tblGrid>
              <a:tr h="426748">
                <a:tc>
                  <a:txBody>
                    <a:bodyPr/>
                    <a:lstStyle/>
                    <a:p>
                      <a:pPr algn="ctr" fontAlgn="b"/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Prénom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Nom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Rôle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Elu jusqu'en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Commentaires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620299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auren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RICOU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ndida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2280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Gilles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CASTEL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Vice Président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>
                          <a:effectLst/>
                          <a:latin typeface="+mj-lt"/>
                        </a:rPr>
                        <a:t>2021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44302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Alain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CATHELIN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Trésorier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0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ndida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820339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Philippe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CERISIER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Président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1745750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Aliénor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FAUR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ministrateur</a:t>
                      </a:r>
                      <a:endParaRPr lang="fr-F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0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rêt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001881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Christoph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>
                          <a:effectLst/>
                          <a:latin typeface="+mj-lt"/>
                        </a:rPr>
                        <a:t>FROMENT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Administrateur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29513248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Alain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GOURINEL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Administrateur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0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ndida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056296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ngéliqu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RENAULT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>
                          <a:effectLst/>
                          <a:latin typeface="+mj-lt"/>
                        </a:rPr>
                        <a:t>Administrateur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2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5429236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Nathali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>
                          <a:effectLst/>
                          <a:latin typeface="+mj-lt"/>
                        </a:rPr>
                        <a:t>PASTRESSE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>
                          <a:effectLst/>
                          <a:latin typeface="+mj-lt"/>
                        </a:rPr>
                        <a:t>Secrétaire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202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437824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Noémie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u="none" strike="noStrike" dirty="0">
                          <a:effectLst/>
                          <a:latin typeface="+mj-lt"/>
                        </a:rPr>
                        <a:t>GARCIA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dida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91914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hilippe 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URY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andidat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3991730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ébastien 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ATELIER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andidat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198521"/>
                  </a:ext>
                </a:extLst>
              </a:tr>
              <a:tr h="42674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astien 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ILLIERS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fr-F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fr-F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ndidat</a:t>
                      </a:r>
                    </a:p>
                    <a:p>
                      <a:pPr marL="0" algn="ctr" defTabSz="914400" rtl="0" eaLnBrk="1" fontAlgn="ctr" latinLnBrk="0" hangingPunct="1"/>
                      <a:endParaRPr lang="fr-F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9315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8/11/2020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002BD31F-8D9D-4AD6-A53E-741079BC560E}"/>
              </a:ext>
            </a:extLst>
          </p:cNvPr>
          <p:cNvSpPr/>
          <p:nvPr/>
        </p:nvSpPr>
        <p:spPr>
          <a:xfrm>
            <a:off x="1042988" y="449786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797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547426"/>
          </a:xfrm>
        </p:spPr>
        <p:txBody>
          <a:bodyPr/>
          <a:lstStyle/>
          <a:p>
            <a:r>
              <a:rPr lang="fr-FR" dirty="0"/>
              <a:t>Budget DEPENSES 2020 – 2021 :     70 350 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6585B0E3-C85E-4CCD-80D6-092C72C3E7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0425431"/>
              </p:ext>
            </p:extLst>
          </p:nvPr>
        </p:nvGraphicFramePr>
        <p:xfrm>
          <a:off x="185738" y="1036333"/>
          <a:ext cx="4176918" cy="5260033"/>
        </p:xfrm>
        <a:graphic>
          <a:graphicData uri="http://schemas.openxmlformats.org/drawingml/2006/table">
            <a:tbl>
              <a:tblPr/>
              <a:tblGrid>
                <a:gridCol w="1641308">
                  <a:extLst>
                    <a:ext uri="{9D8B030D-6E8A-4147-A177-3AD203B41FA5}">
                      <a16:colId xmlns:a16="http://schemas.microsoft.com/office/drawing/2014/main" val="1388627328"/>
                    </a:ext>
                  </a:extLst>
                </a:gridCol>
                <a:gridCol w="978472">
                  <a:extLst>
                    <a:ext uri="{9D8B030D-6E8A-4147-A177-3AD203B41FA5}">
                      <a16:colId xmlns:a16="http://schemas.microsoft.com/office/drawing/2014/main" val="4258606542"/>
                    </a:ext>
                  </a:extLst>
                </a:gridCol>
                <a:gridCol w="736484">
                  <a:extLst>
                    <a:ext uri="{9D8B030D-6E8A-4147-A177-3AD203B41FA5}">
                      <a16:colId xmlns:a16="http://schemas.microsoft.com/office/drawing/2014/main" val="155431754"/>
                    </a:ext>
                  </a:extLst>
                </a:gridCol>
                <a:gridCol w="820654">
                  <a:extLst>
                    <a:ext uri="{9D8B030D-6E8A-4147-A177-3AD203B41FA5}">
                      <a16:colId xmlns:a16="http://schemas.microsoft.com/office/drawing/2014/main" val="1424474561"/>
                    </a:ext>
                  </a:extLst>
                </a:gridCol>
              </a:tblGrid>
              <a:tr h="17831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URE</a:t>
                      </a:r>
                    </a:p>
                  </a:txBody>
                  <a:tcPr marL="6863" marR="6863" marT="6863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TUATION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6863" marR="6863" marT="68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399283"/>
                  </a:ext>
                </a:extLst>
              </a:tr>
              <a:tr h="17056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/2020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/2021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745587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6863" marR="6863" marT="68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7634867"/>
                  </a:ext>
                </a:extLst>
              </a:tr>
              <a:tr h="15506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ENCADREMENT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80891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laires net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494916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nastique masculine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 289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 0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4977645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dminton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 632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0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4119499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rges social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952145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RSSAF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 888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 0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13083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ELIO (Retraite)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381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 0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555292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ONIS (Prévoyance)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6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3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985651"/>
                  </a:ext>
                </a:extLst>
              </a:tr>
              <a:tr h="263603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FORMATION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taxe formation professionnelle)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22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981802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/total   salaires  et charg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7 958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7 93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967336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emnités divers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0173781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emnités divers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131,2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2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5607943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ges /  formation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652086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. FRAIS ENCADREMENT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9 189,2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9 33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660511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tit matériel et équipement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%</a:t>
                      </a:r>
                    </a:p>
                  </a:txBody>
                  <a:tcPr marL="6863" marR="6863" marT="68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979190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dminton (volants)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 5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 0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956229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dminton ( divers)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5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518893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nastique masculine (coffre)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102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4770905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chats tenues sportiv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65604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dminton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08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830904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nastique masculine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0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685443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écompenses compétition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036120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Récompenses tournoi  badminton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304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140687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MATERIEL ET AUTR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0 119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 6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79868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filiations et licence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%</a:t>
                      </a:r>
                    </a:p>
                  </a:txBody>
                  <a:tcPr marL="6863" marR="6863" marT="68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4916170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FGym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241,00    </a:t>
                      </a:r>
                    </a:p>
                  </a:txBody>
                  <a:tcPr marL="6863" marR="6863" marT="686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5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8222415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FBAD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0 858,00    </a:t>
                      </a:r>
                    </a:p>
                  </a:txBody>
                  <a:tcPr marL="6863" marR="6863" marT="686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 4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5201440"/>
                  </a:ext>
                </a:extLst>
              </a:tr>
              <a:tr h="147308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AFFILIATIONS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 099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0 90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18859"/>
                  </a:ext>
                </a:extLst>
              </a:tr>
              <a:tr h="170567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UX A REPORTER</a:t>
                      </a:r>
                    </a:p>
                  </a:txBody>
                  <a:tcPr marL="6863" marR="6863" marT="6863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2 407,2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5 830,00    </a:t>
                      </a:r>
                    </a:p>
                  </a:txBody>
                  <a:tcPr marL="6863" marR="6863" marT="6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633833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81240B96-6C8E-4EE5-AA9F-E993F9CA42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647727"/>
              </p:ext>
            </p:extLst>
          </p:nvPr>
        </p:nvGraphicFramePr>
        <p:xfrm>
          <a:off x="4649058" y="808074"/>
          <a:ext cx="4152014" cy="5688818"/>
        </p:xfrm>
        <a:graphic>
          <a:graphicData uri="http://schemas.openxmlformats.org/drawingml/2006/table">
            <a:tbl>
              <a:tblPr/>
              <a:tblGrid>
                <a:gridCol w="1769953">
                  <a:extLst>
                    <a:ext uri="{9D8B030D-6E8A-4147-A177-3AD203B41FA5}">
                      <a16:colId xmlns:a16="http://schemas.microsoft.com/office/drawing/2014/main" val="3751139119"/>
                    </a:ext>
                  </a:extLst>
                </a:gridCol>
                <a:gridCol w="865311">
                  <a:extLst>
                    <a:ext uri="{9D8B030D-6E8A-4147-A177-3AD203B41FA5}">
                      <a16:colId xmlns:a16="http://schemas.microsoft.com/office/drawing/2014/main" val="3978495676"/>
                    </a:ext>
                  </a:extLst>
                </a:gridCol>
                <a:gridCol w="698148">
                  <a:extLst>
                    <a:ext uri="{9D8B030D-6E8A-4147-A177-3AD203B41FA5}">
                      <a16:colId xmlns:a16="http://schemas.microsoft.com/office/drawing/2014/main" val="3807816877"/>
                    </a:ext>
                  </a:extLst>
                </a:gridCol>
                <a:gridCol w="818602">
                  <a:extLst>
                    <a:ext uri="{9D8B030D-6E8A-4147-A177-3AD203B41FA5}">
                      <a16:colId xmlns:a16="http://schemas.microsoft.com/office/drawing/2014/main" val="3798798283"/>
                    </a:ext>
                  </a:extLst>
                </a:gridCol>
              </a:tblGrid>
              <a:tr h="1192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URE</a:t>
                      </a:r>
                    </a:p>
                  </a:txBody>
                  <a:tcPr marL="100584" marR="100584" marT="5382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TUATION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100584" marR="100584" marT="53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823519"/>
                  </a:ext>
                </a:extLst>
              </a:tr>
              <a:tr h="11922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/2020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/2021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543913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673097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port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2 407,2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5 83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50149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7253510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gagements compétition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5475599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100584" marR="100584" marT="53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9720251"/>
                  </a:ext>
                </a:extLst>
              </a:tr>
              <a:tr h="20531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/Badminton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29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238278"/>
                  </a:ext>
                </a:extLst>
              </a:tr>
              <a:tr h="233953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Particip fédérale tournoi Mousquetair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96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183541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Indemnités juges/ arbitres/Ostéo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94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266909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mboursements SH tournois bad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052168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3622397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FRAIS ENGAGEMENT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319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77883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100584" marR="100584" marT="53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3658665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harmacie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8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45933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suranc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644583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ponsabilité civile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37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3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8232600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tection juridique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8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6773291"/>
                  </a:ext>
                </a:extLst>
              </a:tr>
              <a:tr h="119227">
                <a:tc rowSpan="2"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5417769"/>
                  </a:ext>
                </a:extLst>
              </a:tr>
              <a:tr h="56168">
                <a:tc vMerge="1">
                  <a:txBody>
                    <a:bodyPr/>
                    <a:lstStyle/>
                    <a:p>
                      <a:pPr algn="l" fontAlgn="b"/>
                      <a:r>
                        <a:rPr lang="fr-FR" sz="6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de secrétariat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8591155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de secrétariat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726999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externalisation pai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10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502473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postaux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2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4322537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onnement Sports région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29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865730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Accés Badnet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0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577283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urnitures de bureau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2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8455079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17894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FRAIS ADMINISTRATIF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196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26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425989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%</a:t>
                      </a:r>
                    </a:p>
                  </a:txBody>
                  <a:tcPr marL="100584" marR="100584" marT="53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941828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 buvettes, diver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1942781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Boissons, buvettes ….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751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0816634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mboursement adhésion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31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6322662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 Téléthon et autr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87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095225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rtie IBF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47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098400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épenses diverses (réfrigérateur)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80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119874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 bancair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25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2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3050284"/>
                  </a:ext>
                </a:extLst>
              </a:tr>
              <a:tr h="233953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is encaissement Chèques  ANCV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0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9866363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278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 DEPENSES Divers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 311,00    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66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201996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366485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UX DEPENSES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1 233,2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0 350,00    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500285"/>
                  </a:ext>
                </a:extLst>
              </a:tr>
              <a:tr h="119227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20" marR="5920" marT="53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667988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547426"/>
          </a:xfrm>
        </p:spPr>
        <p:txBody>
          <a:bodyPr/>
          <a:lstStyle/>
          <a:p>
            <a:r>
              <a:rPr lang="fr-FR" dirty="0"/>
              <a:t>Budget RECETTES 2020 – 2021 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>
                <a:solidFill>
                  <a:srgbClr val="FF0000"/>
                </a:solidFill>
              </a:rPr>
              <a:t>   70 350 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6833BE60-C2A5-418B-A6C7-1C8A5583A7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915763"/>
              </p:ext>
            </p:extLst>
          </p:nvPr>
        </p:nvGraphicFramePr>
        <p:xfrm>
          <a:off x="1643753" y="663000"/>
          <a:ext cx="5199322" cy="6195000"/>
        </p:xfrm>
        <a:graphic>
          <a:graphicData uri="http://schemas.openxmlformats.org/drawingml/2006/table">
            <a:tbl>
              <a:tblPr/>
              <a:tblGrid>
                <a:gridCol w="1855206">
                  <a:extLst>
                    <a:ext uri="{9D8B030D-6E8A-4147-A177-3AD203B41FA5}">
                      <a16:colId xmlns:a16="http://schemas.microsoft.com/office/drawing/2014/main" val="3936260130"/>
                    </a:ext>
                  </a:extLst>
                </a:gridCol>
                <a:gridCol w="853818">
                  <a:extLst>
                    <a:ext uri="{9D8B030D-6E8A-4147-A177-3AD203B41FA5}">
                      <a16:colId xmlns:a16="http://schemas.microsoft.com/office/drawing/2014/main" val="2391054262"/>
                    </a:ext>
                  </a:extLst>
                </a:gridCol>
                <a:gridCol w="948685">
                  <a:extLst>
                    <a:ext uri="{9D8B030D-6E8A-4147-A177-3AD203B41FA5}">
                      <a16:colId xmlns:a16="http://schemas.microsoft.com/office/drawing/2014/main" val="3986387438"/>
                    </a:ext>
                  </a:extLst>
                </a:gridCol>
                <a:gridCol w="466437">
                  <a:extLst>
                    <a:ext uri="{9D8B030D-6E8A-4147-A177-3AD203B41FA5}">
                      <a16:colId xmlns:a16="http://schemas.microsoft.com/office/drawing/2014/main" val="1852433347"/>
                    </a:ext>
                  </a:extLst>
                </a:gridCol>
                <a:gridCol w="1075176">
                  <a:extLst>
                    <a:ext uri="{9D8B030D-6E8A-4147-A177-3AD203B41FA5}">
                      <a16:colId xmlns:a16="http://schemas.microsoft.com/office/drawing/2014/main" val="43463411"/>
                    </a:ext>
                  </a:extLst>
                </a:gridCol>
              </a:tblGrid>
              <a:tr h="1347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URE</a:t>
                      </a:r>
                    </a:p>
                  </a:txBody>
                  <a:tcPr marL="4871" marR="4871" marT="4871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TUATION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138003"/>
                  </a:ext>
                </a:extLst>
              </a:tr>
              <a:tr h="12859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/2020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/2020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/2021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9843490"/>
                  </a:ext>
                </a:extLst>
              </a:tr>
              <a:tr h="12859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tisations</a:t>
                      </a:r>
                    </a:p>
                  </a:txBody>
                  <a:tcPr marL="4871" marR="4871" marT="4871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767828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6596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nastique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1 413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1164418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dminton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5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6 150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9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723770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4289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COTISATION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9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7 563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3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818199"/>
                  </a:ext>
                </a:extLst>
              </a:tr>
              <a:tr h="128596">
                <a:tc>
                  <a:txBody>
                    <a:bodyPr/>
                    <a:lstStyle/>
                    <a:p>
                      <a:pPr algn="ctr" fontAlgn="b"/>
                      <a:r>
                        <a:rPr lang="fr-FR" sz="105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bvention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%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874580"/>
                  </a:ext>
                </a:extLst>
              </a:tr>
              <a:tr h="122473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8874672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bvention municipale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455234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bvention de fonctionnement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000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464589"/>
                  </a:ext>
                </a:extLst>
              </a:tr>
              <a:tr h="104102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036220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SUBV. MUNICIPAL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 000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74427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765827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bventions départemental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7886316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seil Général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472849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orts (matériel)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33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372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246863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orts (fonctionnement)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2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200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2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247730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083583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SUBV. DEPARTEMENT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53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572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2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82708"/>
                  </a:ext>
                </a:extLst>
              </a:tr>
              <a:tr h="12109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244681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681778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 SUBVENTION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 53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 572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 2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6372909"/>
                  </a:ext>
                </a:extLst>
              </a:tr>
              <a:tr h="128596"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cettes divers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7"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3048032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131504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Recettes buvett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 4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981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86294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emnité LIFB  Vét   régional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050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31946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tes volants badminton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3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52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9530743"/>
                  </a:ext>
                </a:extLst>
              </a:tr>
              <a:tr h="122473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ticipation stagiaires badminton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048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00,00    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607624"/>
                  </a:ext>
                </a:extLst>
              </a:tr>
              <a:tr h="122473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ticipation stagiaires GAM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000,00    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679783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FF420E"/>
                          </a:solidFill>
                          <a:effectLst/>
                          <a:latin typeface="Arial" panose="020B0604020202020204" pitchFamily="34" charset="0"/>
                        </a:rPr>
                        <a:t>Droits d'inscription tournoi badminton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 816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5984647"/>
                  </a:ext>
                </a:extLst>
              </a:tr>
              <a:tr h="73831">
                <a:tc rowSpan="2"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tes tenues sportives badminton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10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r" fontAlgn="b"/>
                      <a:r>
                        <a:rPr lang="fr-FR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54769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fr-FR" sz="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fr-FR" sz="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85805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tes tenues sportives GAM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0270877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rtie  jeunes IFB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4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2877318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6142283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cette sponsoring (La Résidence)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962542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667272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érêts livret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8,00    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630028"/>
                  </a:ext>
                </a:extLst>
              </a:tr>
              <a:tr h="122473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emnisation chômage partiel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 195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 00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377331"/>
                  </a:ext>
                </a:extLst>
              </a:tr>
              <a:tr h="122473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853133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RECETTES DIVERS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 86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 184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0 65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72246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60068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GENERAL RECETT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2 39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4 319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0 35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04555"/>
                  </a:ext>
                </a:extLst>
              </a:tr>
              <a:tr h="116349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GENERAL  DEPENSES</a:t>
                      </a:r>
                    </a:p>
                  </a:txBody>
                  <a:tcPr marL="4871" marR="4871" marT="4871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2 39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1 233,2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0 350,00    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298458"/>
                  </a:ext>
                </a:extLst>
              </a:tr>
              <a:tr h="1641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4871" marR="4871" marT="4871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 085,80    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871" marR="4871" marT="48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6869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1139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3A6EED0-8B4B-4DEE-9262-C0A7B2B49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cision sur les Assemblées Générales en </a:t>
            </a:r>
            <a:r>
              <a:rPr lang="fr-FR" dirty="0" err="1"/>
              <a:t>visio</a:t>
            </a:r>
            <a:r>
              <a:rPr lang="fr-FR" dirty="0"/>
              <a:t> conférenc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946B185-A08B-4E5F-8F38-6646CD30F7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10A6E41-DE84-4B76-A49B-173E01D0F88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50591BD-1F99-49C8-A94F-411552D872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E7AD5673-3306-45E2-AB7B-91078C85D632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593178" y="2253380"/>
            <a:ext cx="629402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800" b="1" i="0" u="none" strike="noStrike" cap="none" normalizeH="0" baseline="0" dirty="0">
                <a:ln>
                  <a:noFill/>
                </a:ln>
                <a:solidFill>
                  <a:srgbClr val="1F497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           </a:t>
            </a: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11C2447-F4A6-49FE-B2D8-1E329D6E6A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99411"/>
            <a:ext cx="9144000" cy="394635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E4B871F4-F4D2-47FC-842C-489D0E653D7F}"/>
              </a:ext>
            </a:extLst>
          </p:cNvPr>
          <p:cNvSpPr txBox="1"/>
          <p:nvPr/>
        </p:nvSpPr>
        <p:spPr>
          <a:xfrm>
            <a:off x="1130968" y="5666874"/>
            <a:ext cx="73873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>
                <a:solidFill>
                  <a:srgbClr val="00B050"/>
                </a:solidFill>
              </a:rPr>
              <a:t>Notre AG en </a:t>
            </a:r>
            <a:r>
              <a:rPr lang="fr-FR" dirty="0" err="1">
                <a:solidFill>
                  <a:srgbClr val="00B050"/>
                </a:solidFill>
              </a:rPr>
              <a:t>visio</a:t>
            </a:r>
            <a:r>
              <a:rPr lang="fr-FR" dirty="0">
                <a:solidFill>
                  <a:srgbClr val="00B050"/>
                </a:solidFill>
              </a:rPr>
              <a:t> le 27 Novembre est donc valide </a:t>
            </a:r>
          </a:p>
        </p:txBody>
      </p:sp>
    </p:spTree>
    <p:extLst>
      <p:ext uri="{BB962C8B-B14F-4D97-AF65-F5344CB8AC3E}">
        <p14:creationId xmlns:p14="http://schemas.microsoft.com/office/powerpoint/2010/main" val="2749474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QUESTIONS SUR LE BUDGET  </a:t>
            </a:r>
          </a:p>
          <a:p>
            <a:pPr>
              <a:buNone/>
            </a:pPr>
            <a:r>
              <a:rPr lang="fr-FR" sz="2800" dirty="0"/>
              <a:t>                2020 - 2021?</a:t>
            </a:r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APPROBATION DU BUDGET 2020 - 2021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48A4FA-17E7-4243-BE81-3F75E5F7A467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  <a:endParaRPr lang="fr-FR" dirty="0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8/11/2020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002BD31F-8D9D-4AD6-A53E-741079BC560E}"/>
              </a:ext>
            </a:extLst>
          </p:cNvPr>
          <p:cNvSpPr/>
          <p:nvPr/>
        </p:nvSpPr>
        <p:spPr>
          <a:xfrm>
            <a:off x="672159" y="5230380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130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2838" y="4296205"/>
            <a:ext cx="1967516" cy="2786082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ERCI POUR VOTRE PARTICIP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2C1545-0C57-49E7-9CF3-9F1A1B40B520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257" y="242596"/>
            <a:ext cx="2889301" cy="5916664"/>
          </a:xfrm>
          <a:prstGeom prst="rect">
            <a:avLst/>
          </a:prstGeom>
        </p:spPr>
      </p:pic>
      <p:pic>
        <p:nvPicPr>
          <p:cNvPr id="8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25" y="760184"/>
            <a:ext cx="5000628" cy="3857652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857620" y="3508516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>
                <a:solidFill>
                  <a:schemeClr val="tx2"/>
                </a:solidFill>
              </a:rPr>
              <a:t>+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A2FC7FE8-46B0-4F45-A2CA-794C2D6E27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239" y="468926"/>
            <a:ext cx="5207424" cy="2416244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4FBE4E1-B893-4102-B603-B5CFD13174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A1C7675-E5EA-4DC0-8597-C2665C9C485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0AD3853-C9EE-4243-942A-E221A29D4E2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8601D8D-0BE4-4F93-A9CD-62A65BAE0A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239" y="3093448"/>
            <a:ext cx="2819794" cy="303889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EE9158E2-9B05-4E06-BBBC-06041DF054A8}"/>
              </a:ext>
            </a:extLst>
          </p:cNvPr>
          <p:cNvSpPr txBox="1"/>
          <p:nvPr/>
        </p:nvSpPr>
        <p:spPr>
          <a:xfrm>
            <a:off x="4572000" y="3179473"/>
            <a:ext cx="404261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accent2"/>
                </a:solidFill>
              </a:rPr>
              <a:t>Nouveau coordinateur de projets sportifs</a:t>
            </a:r>
          </a:p>
          <a:p>
            <a:endParaRPr lang="fr-FR" dirty="0"/>
          </a:p>
          <a:p>
            <a:pPr algn="ctr"/>
            <a:r>
              <a:rPr lang="fr-FR" dirty="0">
                <a:solidFill>
                  <a:schemeClr val="accent1"/>
                </a:solidFill>
              </a:rPr>
              <a:t>HERBLAY SUR SEINE  </a:t>
            </a:r>
            <a:r>
              <a:rPr lang="fr-FR" dirty="0"/>
              <a:t>Label Ville Active et Sportive, Label Terre de Jeux Paris 2024</a:t>
            </a:r>
          </a:p>
        </p:txBody>
      </p:sp>
    </p:spTree>
    <p:extLst>
      <p:ext uri="{BB962C8B-B14F-4D97-AF65-F5344CB8AC3E}">
        <p14:creationId xmlns:p14="http://schemas.microsoft.com/office/powerpoint/2010/main" val="41016829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115C6FF-489A-4F19-9727-843C8C05E7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38455" y="5417134"/>
            <a:ext cx="3949990" cy="996481"/>
          </a:xfrm>
        </p:spPr>
        <p:txBody>
          <a:bodyPr/>
          <a:lstStyle/>
          <a:p>
            <a:endParaRPr lang="fr-FR" dirty="0"/>
          </a:p>
          <a:p>
            <a:pPr indent="0" algn="ctr">
              <a:buNone/>
            </a:pPr>
            <a:r>
              <a:rPr lang="fr-FR" sz="1800" dirty="0">
                <a:solidFill>
                  <a:srgbClr val="FF0000"/>
                </a:solidFill>
              </a:rPr>
              <a:t>A partir de 2021 la coupe du VO sera la Coupe Anne LAURENT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D17E5B8-38BB-4FA4-A49C-055066322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Une belle personne qui a tant donné et qui nous a quitté bien trop tôt.</a:t>
            </a:r>
            <a:br>
              <a:rPr lang="fr-FR" dirty="0"/>
            </a:b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46F812-D2AF-4B44-A111-ADB3C17A4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BD65650-EDC4-4C98-8731-A15873D91F9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pic>
        <p:nvPicPr>
          <p:cNvPr id="8" name="Image 7" descr="Une image contenant bâtiment, extérieur, homme, garçon&#10;&#10;Description générée automatiquement">
            <a:extLst>
              <a:ext uri="{FF2B5EF4-FFF2-40B4-BE49-F238E27FC236}">
                <a16:creationId xmlns:a16="http://schemas.microsoft.com/office/drawing/2014/main" id="{8AF3BF2A-31CF-48A1-B65B-F30A0BFCEA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83" y="1046442"/>
            <a:ext cx="3737114" cy="2802835"/>
          </a:xfrm>
          <a:prstGeom prst="rect">
            <a:avLst/>
          </a:prstGeom>
        </p:spPr>
      </p:pic>
      <p:pic>
        <p:nvPicPr>
          <p:cNvPr id="10" name="Image 9" descr="Une image contenant clôture, extérieur, personne, debout&#10;&#10;Description générée automatiquement">
            <a:extLst>
              <a:ext uri="{FF2B5EF4-FFF2-40B4-BE49-F238E27FC236}">
                <a16:creationId xmlns:a16="http://schemas.microsoft.com/office/drawing/2014/main" id="{D9D8F363-A7B1-416B-97A7-A8E78716CB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0937" y="778533"/>
            <a:ext cx="2697508" cy="3596678"/>
          </a:xfrm>
          <a:prstGeom prst="rect">
            <a:avLst/>
          </a:prstGeom>
        </p:spPr>
      </p:pic>
      <p:pic>
        <p:nvPicPr>
          <p:cNvPr id="12" name="Image 11" descr="Une image contenant personne, posant, photo, intérieur&#10;&#10;Description générée automatiquement">
            <a:extLst>
              <a:ext uri="{FF2B5EF4-FFF2-40B4-BE49-F238E27FC236}">
                <a16:creationId xmlns:a16="http://schemas.microsoft.com/office/drawing/2014/main" id="{94AC13BC-2527-4A8E-B757-A0235AA958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83" y="3939278"/>
            <a:ext cx="3690976" cy="2802835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:a16="http://schemas.microsoft.com/office/drawing/2014/main" id="{A238F695-4758-4082-ADFA-DD1BE0E4A8D3}"/>
              </a:ext>
            </a:extLst>
          </p:cNvPr>
          <p:cNvSpPr txBox="1">
            <a:spLocks/>
          </p:cNvSpPr>
          <p:nvPr/>
        </p:nvSpPr>
        <p:spPr>
          <a:xfrm>
            <a:off x="4874135" y="4344214"/>
            <a:ext cx="3514310" cy="996481"/>
          </a:xfrm>
          <a:prstGeom prst="rect">
            <a:avLst/>
          </a:prstGeom>
        </p:spPr>
        <p:txBody>
          <a:bodyPr/>
          <a:lstStyle>
            <a:lvl1pPr marL="0" indent="-414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5"/>
              </a:buBlip>
              <a:defRPr sz="1600" b="1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432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63436"/>
              </a:buClr>
              <a:buSzPct val="100000"/>
              <a:buFont typeface="Lucida Grande"/>
              <a:buChar char="‣"/>
              <a:defRPr sz="1600" b="1" kern="1200" baseline="0">
                <a:solidFill>
                  <a:srgbClr val="F18B2E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6048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3pPr>
            <a:lvl4pPr marL="90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000" kern="120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−"/>
              <a:defRPr sz="1000" kern="1200" baseline="0">
                <a:solidFill>
                  <a:srgbClr val="463436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endParaRPr lang="fr-FR" dirty="0"/>
          </a:p>
          <a:p>
            <a:pPr indent="0" algn="ctr">
              <a:buFontTx/>
              <a:buNone/>
            </a:pPr>
            <a:r>
              <a:rPr lang="fr-FR" sz="3200" dirty="0"/>
              <a:t>Anne LAURENT</a:t>
            </a:r>
          </a:p>
          <a:p>
            <a:pPr indent="0" algn="ctr">
              <a:buFontTx/>
              <a:buNone/>
            </a:pPr>
            <a:r>
              <a:rPr lang="fr-FR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1798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8/11/2020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1285871045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680934" y="1415100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61116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D0A221AF-3841-45BA-982D-907825F90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ison 2019 - 2020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304D89D-403F-4FCD-8267-C478449ABD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1C6032F-9C5C-4C23-87E0-6227253A253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D80598E-B635-48C0-B719-F4629476514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Diagramme 7">
            <a:extLst>
              <a:ext uri="{FF2B5EF4-FFF2-40B4-BE49-F238E27FC236}">
                <a16:creationId xmlns:a16="http://schemas.microsoft.com/office/drawing/2014/main" id="{80F09835-8C02-47E1-87BD-9B3F7D171A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1118006"/>
              </p:ext>
            </p:extLst>
          </p:nvPr>
        </p:nvGraphicFramePr>
        <p:xfrm>
          <a:off x="794084" y="775884"/>
          <a:ext cx="7940842" cy="5306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07505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10" name="Graphique 9"/>
          <p:cNvGraphicFramePr/>
          <p:nvPr>
            <p:extLst>
              <p:ext uri="{D42A27DB-BD31-4B8C-83A1-F6EECF244321}">
                <p14:modId xmlns:p14="http://schemas.microsoft.com/office/powerpoint/2010/main" val="2410318430"/>
              </p:ext>
            </p:extLst>
          </p:nvPr>
        </p:nvGraphicFramePr>
        <p:xfrm>
          <a:off x="368968" y="111125"/>
          <a:ext cx="8406063" cy="5775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plus fine des adhérents du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8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556450"/>
              </p:ext>
            </p:extLst>
          </p:nvPr>
        </p:nvGraphicFramePr>
        <p:xfrm>
          <a:off x="395536" y="785096"/>
          <a:ext cx="8352930" cy="53889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92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2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21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2155">
                  <a:extLst>
                    <a:ext uri="{9D8B030D-6E8A-4147-A177-3AD203B41FA5}">
                      <a16:colId xmlns:a16="http://schemas.microsoft.com/office/drawing/2014/main" val="1878526387"/>
                    </a:ext>
                  </a:extLst>
                </a:gridCol>
                <a:gridCol w="1392155">
                  <a:extLst>
                    <a:ext uri="{9D8B030D-6E8A-4147-A177-3AD203B41FA5}">
                      <a16:colId xmlns:a16="http://schemas.microsoft.com/office/drawing/2014/main" val="3502629078"/>
                    </a:ext>
                  </a:extLst>
                </a:gridCol>
                <a:gridCol w="1392155">
                  <a:extLst>
                    <a:ext uri="{9D8B030D-6E8A-4147-A177-3AD203B41FA5}">
                      <a16:colId xmlns:a16="http://schemas.microsoft.com/office/drawing/2014/main" val="3927373945"/>
                    </a:ext>
                  </a:extLst>
                </a:gridCol>
              </a:tblGrid>
              <a:tr h="524143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16-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2017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/>
                        <a:t>2018-2019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19-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0-202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jou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41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08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âge moy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3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0,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,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ho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6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fe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compétit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130">
                <a:tc>
                  <a:txBody>
                    <a:bodyPr/>
                    <a:lstStyle/>
                    <a:p>
                      <a:r>
                        <a:rPr lang="fr-FR"/>
                        <a:t>loisi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5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Classements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Na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Rég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Départ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N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YUFkyrnkmabmPEvVCo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ZufsihhkypKvYeR6v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4qxR.hlUmMrttMgIm3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E8b7NzEaP_71XKqK_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L6tTUYUKK7KuID6E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ouqht3EmE7jitNuFp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estjr_EaC.i9ywwGd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7Dj.XxZU6npJypcbOR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rO8dNv0yw3ro5g2_5BA"/>
</p:tagLst>
</file>

<file path=ppt/theme/theme1.xml><?xml version="1.0" encoding="utf-8"?>
<a:theme xmlns:a="http://schemas.openxmlformats.org/drawingml/2006/main" name="Modèle Présentation Klés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Thème Office">
  <a:themeElements>
    <a:clrScheme name="7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Thème Offic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82F832B840AE43B7BB6E8DE33DAEE3" ma:contentTypeVersion="11" ma:contentTypeDescription="Crée un document." ma:contentTypeScope="" ma:versionID="fcd3cdaa57daad9d5b71ecf435cc5f0e">
  <xsd:schema xmlns:xsd="http://www.w3.org/2001/XMLSchema" xmlns:xs="http://www.w3.org/2001/XMLSchema" xmlns:p="http://schemas.microsoft.com/office/2006/metadata/properties" xmlns:ns3="ab4ae582-4b1f-402f-b3e7-e10af49524d1" xmlns:ns4="e673adbb-9038-43db-989b-c53fc631368e" targetNamespace="http://schemas.microsoft.com/office/2006/metadata/properties" ma:root="true" ma:fieldsID="b57daeb3784fad586178d60ee7139f5c" ns3:_="" ns4:_="">
    <xsd:import namespace="ab4ae582-4b1f-402f-b3e7-e10af49524d1"/>
    <xsd:import namespace="e673adbb-9038-43db-989b-c53fc631368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4ae582-4b1f-402f-b3e7-e10af49524d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3adbb-9038-43db-989b-c53fc63136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08DF1FC-11B4-4223-AEDD-81910AD464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C37155-2BFD-457C-A1AE-FB3FAA9BF9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4ae582-4b1f-402f-b3e7-e10af49524d1"/>
    <ds:schemaRef ds:uri="e673adbb-9038-43db-989b-c53fc63136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683E54-C0B5-484D-90C1-82FC6811A7A4}">
  <ds:schemaRefs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ab4ae582-4b1f-402f-b3e7-e10af49524d1"/>
    <ds:schemaRef ds:uri="e673adbb-9038-43db-989b-c53fc631368e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èle Présentation Klésia.potx</Template>
  <TotalTime>27426</TotalTime>
  <Words>2640</Words>
  <Application>Microsoft Office PowerPoint</Application>
  <PresentationFormat>Affichage à l'écran (4:3)</PresentationFormat>
  <Paragraphs>1179</Paragraphs>
  <Slides>3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0" baseType="lpstr">
      <vt:lpstr>Arial</vt:lpstr>
      <vt:lpstr>Calibri</vt:lpstr>
      <vt:lpstr>Courier New</vt:lpstr>
      <vt:lpstr>Lucida Grande</vt:lpstr>
      <vt:lpstr>Wingdings</vt:lpstr>
      <vt:lpstr>Modèle Présentation Klésia</vt:lpstr>
      <vt:lpstr>7_Thème Office</vt:lpstr>
      <vt:lpstr>think-cell Slide</vt:lpstr>
      <vt:lpstr>Assemblée  Générale Ordinaire </vt:lpstr>
      <vt:lpstr>Présentation PowerPoint</vt:lpstr>
      <vt:lpstr>Précision sur les Assemblées Générales en visio conférence</vt:lpstr>
      <vt:lpstr>Présentation PowerPoint</vt:lpstr>
      <vt:lpstr>Une belle personne qui a tant donné et qui nous a quitté bien trop tôt. </vt:lpstr>
      <vt:lpstr>Présentation PowerPoint</vt:lpstr>
      <vt:lpstr>Saison 2019 - 2020</vt:lpstr>
      <vt:lpstr>Présentation PowerPoint</vt:lpstr>
      <vt:lpstr>Analyse plus fine des adhérents du BADMINTON</vt:lpstr>
      <vt:lpstr>gymnastique masculine</vt:lpstr>
      <vt:lpstr>Présentation PowerPoint</vt:lpstr>
      <vt:lpstr>Présentation PowerPoint</vt:lpstr>
      <vt:lpstr>La saison 2021</vt:lpstr>
      <vt:lpstr>Présentation PowerPoint</vt:lpstr>
      <vt:lpstr>SYNTHESE 2019 - 2020</vt:lpstr>
      <vt:lpstr>Présentation PowerPoint</vt:lpstr>
      <vt:lpstr>Ne PAS CONFONDRE</vt:lpstr>
      <vt:lpstr>Présentation PowerPoint</vt:lpstr>
      <vt:lpstr>Présentation PowerPoint</vt:lpstr>
      <vt:lpstr>Présentation PowerPoint</vt:lpstr>
      <vt:lpstr>LES DEPENSES : Budget : 82 390 €  REALISEES : 71 233,20€</vt:lpstr>
      <vt:lpstr>LES RECETTES : Budget : 82 390 €  REALISEES : 84319 € </vt:lpstr>
      <vt:lpstr>Rapport financier 2019 - 2020</vt:lpstr>
      <vt:lpstr>Présentation PowerPoint</vt:lpstr>
      <vt:lpstr>Les missions du Conseil d’Administration  12 membres maxi</vt:lpstr>
      <vt:lpstr>Situation des MANDATS et CANDIDATURES</vt:lpstr>
      <vt:lpstr>Présentation PowerPoint</vt:lpstr>
      <vt:lpstr>Budget DEPENSES 2020 – 2021 :     70 350 €</vt:lpstr>
      <vt:lpstr>Budget RECETTES 2020 – 2021 :   70 350 €</vt:lpstr>
      <vt:lpstr>Présentation PowerPoint</vt:lpstr>
      <vt:lpstr>Présentation PowerPoint</vt:lpstr>
      <vt:lpstr>MERCI POUR VOTRE PARTICIP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nbriand</dc:creator>
  <cp:lastModifiedBy>Philippe CERISIER</cp:lastModifiedBy>
  <cp:revision>552</cp:revision>
  <cp:lastPrinted>2018-11-30T17:05:14Z</cp:lastPrinted>
  <dcterms:created xsi:type="dcterms:W3CDTF">2012-06-28T08:43:56Z</dcterms:created>
  <dcterms:modified xsi:type="dcterms:W3CDTF">2020-11-28T13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82F832B840AE43B7BB6E8DE33DAEE3</vt:lpwstr>
  </property>
</Properties>
</file>